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3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4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5.xml" ContentType="application/vnd.openxmlformats-officedocument.them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6.xml" ContentType="application/vnd.openxmlformats-officedocument.them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heme/theme7.xml" ContentType="application/vnd.openxmlformats-officedocument.theme+xml"/>
  <Override PartName="/ppt/tags/tag308.xml" ContentType="application/vnd.openxmlformats-officedocument.presentationml.tags+xml"/>
  <Override PartName="/ppt/notesSlides/notesSlide1.xml" ContentType="application/vnd.openxmlformats-officedocument.presentationml.notesSlide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8" r:id="rId2"/>
    <p:sldMasterId id="2147483716" r:id="rId3"/>
    <p:sldMasterId id="2147483744" r:id="rId4"/>
    <p:sldMasterId id="2147483772" r:id="rId5"/>
    <p:sldMasterId id="2147483800" r:id="rId6"/>
  </p:sldMasterIdLst>
  <p:notesMasterIdLst>
    <p:notesMasterId r:id="rId13"/>
  </p:notesMasterIdLst>
  <p:sldIdLst>
    <p:sldId id="273" r:id="rId7"/>
    <p:sldId id="274" r:id="rId8"/>
    <p:sldId id="278" r:id="rId9"/>
    <p:sldId id="285" r:id="rId10"/>
    <p:sldId id="284" r:id="rId11"/>
    <p:sldId id="283" r:id="rId12"/>
  </p:sldIdLst>
  <p:sldSz cx="12192000" cy="6858000"/>
  <p:notesSz cx="6858000" cy="9144000"/>
  <p:custDataLst>
    <p:tags r:id="rId1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0" d="100"/>
          <a:sy n="60" d="100"/>
        </p:scale>
        <p:origin x="840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5CE957-0ECA-4FF3-AD3E-14715B126181}" type="datetimeFigureOut">
              <a:rPr lang="fr-FR" smtClean="0"/>
              <a:t>26/06/2023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6CB81D-9705-49D1-95E3-352944D12FB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915367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</a:t>
            </a:fld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801346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1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2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3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4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image" Target="../media/image13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5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microsoft.com/office/2007/relationships/hdphoto" Target="../media/hdphoto1.wdp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image" Target="../media/image1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6.bin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wmf"/><Relationship Id="rId3" Type="http://schemas.openxmlformats.org/officeDocument/2006/relationships/oleObject" Target="../embeddings/oleObject107.bin"/><Relationship Id="rId7" Type="http://schemas.openxmlformats.org/officeDocument/2006/relationships/hyperlink" Target="https://infomineo.com/insights/blog/" TargetMode="External"/><Relationship Id="rId12" Type="http://schemas.openxmlformats.org/officeDocument/2006/relationships/image" Target="../media/image17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3.xml"/><Relationship Id="rId6" Type="http://schemas.openxmlformats.org/officeDocument/2006/relationships/image" Target="../media/image6.svg"/><Relationship Id="rId11" Type="http://schemas.openxmlformats.org/officeDocument/2006/relationships/hyperlink" Target="https://www.facebook.com/Infomineo/" TargetMode="External"/><Relationship Id="rId5" Type="http://schemas.openxmlformats.org/officeDocument/2006/relationships/image" Target="../media/image5.png"/><Relationship Id="rId10" Type="http://schemas.openxmlformats.org/officeDocument/2006/relationships/image" Target="../media/image16.emf"/><Relationship Id="rId4" Type="http://schemas.openxmlformats.org/officeDocument/2006/relationships/image" Target="../media/image11.emf"/><Relationship Id="rId9" Type="http://schemas.openxmlformats.org/officeDocument/2006/relationships/hyperlink" Target="https://www.linkedin.com/company-beta/2416143/admin/updates/" TargetMode="Externa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svg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png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png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png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png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png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4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8.xml"/><Relationship Id="rId5" Type="http://schemas.openxmlformats.org/officeDocument/2006/relationships/image" Target="../media/image9.jpg"/><Relationship Id="rId4" Type="http://schemas.openxmlformats.org/officeDocument/2006/relationships/image" Target="../media/image8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9.xml"/><Relationship Id="rId4" Type="http://schemas.openxmlformats.org/officeDocument/2006/relationships/image" Target="../media/image1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.svg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4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5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6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7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8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9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3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31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image" Target="../media/image13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2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microsoft.com/office/2007/relationships/hdphoto" Target="../media/hdphoto1.wdp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image" Target="../media/image1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3.bin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wmf"/><Relationship Id="rId3" Type="http://schemas.openxmlformats.org/officeDocument/2006/relationships/oleObject" Target="../embeddings/oleObject134.bin"/><Relationship Id="rId7" Type="http://schemas.openxmlformats.org/officeDocument/2006/relationships/hyperlink" Target="https://infomineo.com/insights/blog/" TargetMode="External"/><Relationship Id="rId12" Type="http://schemas.openxmlformats.org/officeDocument/2006/relationships/image" Target="../media/image17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4.xml"/><Relationship Id="rId6" Type="http://schemas.openxmlformats.org/officeDocument/2006/relationships/image" Target="../media/image6.svg"/><Relationship Id="rId11" Type="http://schemas.openxmlformats.org/officeDocument/2006/relationships/hyperlink" Target="https://www.facebook.com/Infomineo/" TargetMode="External"/><Relationship Id="rId5" Type="http://schemas.openxmlformats.org/officeDocument/2006/relationships/image" Target="../media/image5.png"/><Relationship Id="rId10" Type="http://schemas.openxmlformats.org/officeDocument/2006/relationships/image" Target="../media/image16.emf"/><Relationship Id="rId4" Type="http://schemas.openxmlformats.org/officeDocument/2006/relationships/image" Target="../media/image11.emf"/><Relationship Id="rId9" Type="http://schemas.openxmlformats.org/officeDocument/2006/relationships/hyperlink" Target="https://www.linkedin.com/company-beta/2416143/admin/updates/" TargetMode="Externa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.svg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png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7.bin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png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png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9.bin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png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png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1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9.xml"/><Relationship Id="rId5" Type="http://schemas.openxmlformats.org/officeDocument/2006/relationships/image" Target="../media/image9.jpg"/><Relationship Id="rId4" Type="http://schemas.openxmlformats.org/officeDocument/2006/relationships/image" Target="../media/image8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0.xml"/><Relationship Id="rId4" Type="http://schemas.openxmlformats.org/officeDocument/2006/relationships/image" Target="../media/image1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4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5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6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7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8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1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2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3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4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5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6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7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6" Type="http://schemas.openxmlformats.org/officeDocument/2006/relationships/image" Target="../media/image13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9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microsoft.com/office/2007/relationships/hdphoto" Target="../media/hdphoto1.wdp"/><Relationship Id="rId2" Type="http://schemas.openxmlformats.org/officeDocument/2006/relationships/tags" Target="../tags/tag304.xml"/><Relationship Id="rId1" Type="http://schemas.openxmlformats.org/officeDocument/2006/relationships/tags" Target="../tags/tag303.xml"/><Relationship Id="rId6" Type="http://schemas.openxmlformats.org/officeDocument/2006/relationships/image" Target="../media/image1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0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wmf"/><Relationship Id="rId3" Type="http://schemas.openxmlformats.org/officeDocument/2006/relationships/oleObject" Target="../embeddings/oleObject161.bin"/><Relationship Id="rId7" Type="http://schemas.openxmlformats.org/officeDocument/2006/relationships/hyperlink" Target="https://infomineo.com/insights/blog/" TargetMode="External"/><Relationship Id="rId12" Type="http://schemas.openxmlformats.org/officeDocument/2006/relationships/image" Target="../media/image17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5.xml"/><Relationship Id="rId6" Type="http://schemas.openxmlformats.org/officeDocument/2006/relationships/image" Target="../media/image6.svg"/><Relationship Id="rId11" Type="http://schemas.openxmlformats.org/officeDocument/2006/relationships/hyperlink" Target="https://www.facebook.com/Infomineo/" TargetMode="External"/><Relationship Id="rId5" Type="http://schemas.openxmlformats.org/officeDocument/2006/relationships/image" Target="../media/image5.png"/><Relationship Id="rId10" Type="http://schemas.openxmlformats.org/officeDocument/2006/relationships/image" Target="../media/image16.emf"/><Relationship Id="rId4" Type="http://schemas.openxmlformats.org/officeDocument/2006/relationships/image" Target="../media/image11.emf"/><Relationship Id="rId9" Type="http://schemas.openxmlformats.org/officeDocument/2006/relationships/hyperlink" Target="https://www.linkedin.com/company-beta/2416143/admin/updates/" TargetMode="Externa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2.bin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3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wmf"/><Relationship Id="rId3" Type="http://schemas.openxmlformats.org/officeDocument/2006/relationships/oleObject" Target="../embeddings/oleObject26.bin"/><Relationship Id="rId7" Type="http://schemas.openxmlformats.org/officeDocument/2006/relationships/hyperlink" Target="https://infomineo.com/insights/blog/" TargetMode="External"/><Relationship Id="rId12" Type="http://schemas.openxmlformats.org/officeDocument/2006/relationships/image" Target="../media/image1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image" Target="../media/image6.svg"/><Relationship Id="rId11" Type="http://schemas.openxmlformats.org/officeDocument/2006/relationships/hyperlink" Target="https://www.facebook.com/Infomineo/" TargetMode="External"/><Relationship Id="rId5" Type="http://schemas.openxmlformats.org/officeDocument/2006/relationships/image" Target="../media/image5.png"/><Relationship Id="rId10" Type="http://schemas.openxmlformats.org/officeDocument/2006/relationships/image" Target="../media/image16.emf"/><Relationship Id="rId4" Type="http://schemas.openxmlformats.org/officeDocument/2006/relationships/image" Target="../media/image11.emf"/><Relationship Id="rId9" Type="http://schemas.openxmlformats.org/officeDocument/2006/relationships/hyperlink" Target="https://www.linkedin.com/company-beta/2416143/admin/updates/" TargetMode="Externa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Relationship Id="rId5" Type="http://schemas.openxmlformats.org/officeDocument/2006/relationships/image" Target="../media/image9.jpg"/><Relationship Id="rId4" Type="http://schemas.openxmlformats.org/officeDocument/2006/relationships/image" Target="../media/image8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sv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13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wmf"/><Relationship Id="rId3" Type="http://schemas.openxmlformats.org/officeDocument/2006/relationships/oleObject" Target="../embeddings/oleObject53.bin"/><Relationship Id="rId7" Type="http://schemas.openxmlformats.org/officeDocument/2006/relationships/hyperlink" Target="https://infomineo.com/insights/blog/" TargetMode="External"/><Relationship Id="rId12" Type="http://schemas.openxmlformats.org/officeDocument/2006/relationships/image" Target="../media/image1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1.xml"/><Relationship Id="rId6" Type="http://schemas.openxmlformats.org/officeDocument/2006/relationships/image" Target="../media/image6.svg"/><Relationship Id="rId11" Type="http://schemas.openxmlformats.org/officeDocument/2006/relationships/hyperlink" Target="https://www.facebook.com/Infomineo/" TargetMode="External"/><Relationship Id="rId5" Type="http://schemas.openxmlformats.org/officeDocument/2006/relationships/image" Target="../media/image5.png"/><Relationship Id="rId10" Type="http://schemas.openxmlformats.org/officeDocument/2006/relationships/image" Target="../media/image16.emf"/><Relationship Id="rId4" Type="http://schemas.openxmlformats.org/officeDocument/2006/relationships/image" Target="../media/image11.emf"/><Relationship Id="rId9" Type="http://schemas.openxmlformats.org/officeDocument/2006/relationships/hyperlink" Target="https://www.linkedin.com/company-beta/2416143/admin/updates/" TargetMode="Externa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sv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9.jpg"/><Relationship Id="rId4" Type="http://schemas.openxmlformats.org/officeDocument/2006/relationships/image" Target="../media/image8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6.xml"/><Relationship Id="rId5" Type="http://schemas.openxmlformats.org/officeDocument/2006/relationships/image" Target="../media/image9.jpg"/><Relationship Id="rId4" Type="http://schemas.openxmlformats.org/officeDocument/2006/relationships/image" Target="../media/image8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7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0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1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2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3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4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5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6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7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image" Target="../media/image13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image" Target="../media/image1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9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wmf"/><Relationship Id="rId3" Type="http://schemas.openxmlformats.org/officeDocument/2006/relationships/oleObject" Target="../embeddings/oleObject80.bin"/><Relationship Id="rId7" Type="http://schemas.openxmlformats.org/officeDocument/2006/relationships/hyperlink" Target="https://infomineo.com/insights/blog/" TargetMode="External"/><Relationship Id="rId12" Type="http://schemas.openxmlformats.org/officeDocument/2006/relationships/image" Target="../media/image17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2.xml"/><Relationship Id="rId6" Type="http://schemas.openxmlformats.org/officeDocument/2006/relationships/image" Target="../media/image6.svg"/><Relationship Id="rId11" Type="http://schemas.openxmlformats.org/officeDocument/2006/relationships/hyperlink" Target="https://www.facebook.com/Infomineo/" TargetMode="External"/><Relationship Id="rId5" Type="http://schemas.openxmlformats.org/officeDocument/2006/relationships/image" Target="../media/image5.png"/><Relationship Id="rId10" Type="http://schemas.openxmlformats.org/officeDocument/2006/relationships/image" Target="../media/image16.emf"/><Relationship Id="rId4" Type="http://schemas.openxmlformats.org/officeDocument/2006/relationships/image" Target="../media/image11.emf"/><Relationship Id="rId9" Type="http://schemas.openxmlformats.org/officeDocument/2006/relationships/hyperlink" Target="https://www.linkedin.com/company-beta/2416143/admin/updates/" TargetMode="Externa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7.xml"/><Relationship Id="rId5" Type="http://schemas.openxmlformats.org/officeDocument/2006/relationships/image" Target="../media/image9.jpg"/><Relationship Id="rId4" Type="http://schemas.openxmlformats.org/officeDocument/2006/relationships/image" Target="../media/image8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8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svg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7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8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9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7231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C7EB34-6497-4D19-B99E-5F4D7F924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4" r="-1" b="-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0270E3B-760C-41F0-B9D6-A2E014047679}"/>
              </a:ext>
            </a:extLst>
          </p:cNvPr>
          <p:cNvSpPr/>
          <p:nvPr userDrawn="1"/>
        </p:nvSpPr>
        <p:spPr>
          <a:xfrm>
            <a:off x="536449" y="0"/>
            <a:ext cx="6363291" cy="147521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45000">
                <a:schemeClr val="tx2">
                  <a:lumMod val="50000"/>
                  <a:alpha val="90000"/>
                </a:schemeClr>
              </a:gs>
              <a:gs pos="100000">
                <a:schemeClr val="tx2">
                  <a:lumMod val="75000"/>
                  <a:alpha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1844677"/>
            <a:ext cx="6363291" cy="501332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b="0" cap="none" baseline="0" dirty="0">
                <a:solidFill>
                  <a:schemeClr val="bg1"/>
                </a:solidFill>
                <a:latin typeface="Franklin Gothic Demi" panose="020B07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73CF3BF-BC79-895D-2080-23B54D7D49E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5582" y="172909"/>
            <a:ext cx="2992347" cy="1118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2457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785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4C70F-8641-4AD5-A3F6-0EBA9C54EA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3EF22FF7-C1AC-4F2A-9E98-236284660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4D4977A-6637-4106-96DA-BDAAC2518559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74D7535-DD55-4BCD-A913-9F98A80E2AAD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25BE1D1D-5C46-42D6-AA46-FD5902FDE024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A7F7D663-CB75-456D-911A-BD2A8F59B130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97E6936-7A47-4E85-B003-37AE13A73F22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B6F6AB7C-E8B0-4611-A905-F86C05FEC940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504CE7F7-478B-4DFB-A021-80071B529493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522A9F9-C26A-4B72-93CD-9528636133FE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D674410-4755-485D-BEA6-A9EE31599080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52F1A2D-9FF5-49A3-B11A-A842CB94EEE7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7660309-3ECC-487F-9D6C-08DE732EEA92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29373EC6-22EE-4AE8-A986-A3662C2AF607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EF08C567-10B3-494B-8347-38E808F75B2A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107EA0CD-BF40-4B85-88B1-06D5221EA25F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580E308-C62A-4BCD-993B-AFE1C3E57E94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836F53DC-0C00-4681-ADA4-58AABB9FD0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40" name="Copyright">
              <a:extLst>
                <a:ext uri="{FF2B5EF4-FFF2-40B4-BE49-F238E27FC236}">
                  <a16:creationId xmlns:a16="http://schemas.microsoft.com/office/drawing/2014/main" id="{36107045-99BA-4480-99BA-1F7D50690723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0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940482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882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148355-9A23-4C82-8F0E-F21594843C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1F99190-1A65-41A8-BBA7-98BD441A8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50D61507-3612-4ECE-96B7-0F9C15D342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CE9086E-00AC-4525-B7C4-F51B01FEA197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F2864F8-CE03-42D9-A1C6-49C13A90928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DDB86A9-D96F-4924-9B1A-50C360C15742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86074501-3762-407F-A74D-3799FEAFBD37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3D29F00-385D-4638-BD08-A8B98A323401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E2A3DD6C-1362-40F5-A7B3-2E963C5D94FF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6616E241-6E09-4071-B657-CE4E7BB5CD37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6A9939C2-C1A3-49F7-A69F-F2E83814F06B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C6484D2-FDEB-453B-ACAB-605BDF0437F1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E626162E-D8C5-4F77-A6A1-E2B6C7CABFC3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6446D18-F2A6-4A1D-9193-2C1738C1053D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6A74D8F-C94B-4FE0-9FED-86918ACD7711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FE130351-367D-46DC-AEF2-11BF681D6F21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1295B187-375A-4BC1-8930-8B6FB7B25415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987C9E7-CE53-4EC9-8C60-48477925BADC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9" name="Copyright">
              <a:extLst>
                <a:ext uri="{FF2B5EF4-FFF2-40B4-BE49-F238E27FC236}">
                  <a16:creationId xmlns:a16="http://schemas.microsoft.com/office/drawing/2014/main" id="{7F3EFBBF-8F6E-4F95-970D-289D95FB3EDE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2014820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G (with 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08331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148355-9A23-4C82-8F0E-F21594843C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C27F5F1-6E1A-43D9-B04D-DEEBA03354E7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3878A702-A86E-4356-99F5-6CC007B3A84C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75A2218-59DA-4B99-8DEE-5DF1044A636F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E8F166A-EB8B-4235-A114-5C9D062319D5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2FC6C6B-C81D-4FE7-9F3B-65F6B734168D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8EBE5-A780-49FB-9EAB-A8F48E23FAC5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ADB921C-741F-494D-9C24-2E06B3F237E1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2CBAA18-CC04-464C-B2DA-F60F1DFE63B3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7D25102-BF68-4480-830D-1A1BE174C734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EE8638F-0CD8-4C03-9847-FAF25CBB620A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481A8A-8F5D-40BC-B59F-D4CEF2254BB7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50965BC-1532-45A0-8F0A-37DAEC7BBE6F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C1AF2FC-06E9-481D-AAD4-A185594C60F4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1342B2-AEC9-4B66-9503-4CFC2ED0B897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41AC723-9EBC-48CA-B1C7-D2D5419421B0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4" name="Copyright">
            <a:extLst>
              <a:ext uri="{FF2B5EF4-FFF2-40B4-BE49-F238E27FC236}">
                <a16:creationId xmlns:a16="http://schemas.microsoft.com/office/drawing/2014/main" id="{2B7A128F-26DE-473C-95DA-CCAF4D373141}"/>
              </a:ext>
            </a:extLst>
          </p:cNvPr>
          <p:cNvSpPr txBox="1"/>
          <p:nvPr userDrawn="1"/>
        </p:nvSpPr>
        <p:spPr>
          <a:xfrm rot="16200000">
            <a:off x="11250972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. All rights reserved.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1F99190-1A65-41A8-BBA7-98BD441A8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50D61507-3612-4ECE-96B7-0F9C15D342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EDF673-966E-4DCD-9A9F-89CC749ED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18576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4678213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84101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E2B9A3-0AB0-4FA9-BE30-99B8A88EB1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8134763" y="-1"/>
            <a:ext cx="4059776" cy="6858001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454" y="6445295"/>
            <a:ext cx="15068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7BD8F9-1D4E-4291-8770-E69192472F2F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767490F9-4012-46F8-ABED-EB2AEB970D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BFAF012-FF52-4660-B1EB-E3DAD4E5D0D9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63A8AA3-AFD6-4F1D-95AB-D3C5F7E6A748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81A09B8-B6D7-496D-AC8E-E2CC99E1F047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77B1E538-1876-4C5E-8612-52D93329CC93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BEB775BB-2E5F-4B32-9B48-8DE1DD506FB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DF313EF-4694-4121-BF30-C1139E1F9D1C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F3BB4C7-5441-4DAF-B428-07833129A3C4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ADF2282-0F9C-41BD-8919-3F118F7AFA19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07EBF3C-B087-4F18-8637-DB3F73785049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FE95DEE8-DE4E-456F-B56B-0D9C34409112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34E317DF-5709-4B5E-A764-DBE2AC16DCAC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ABAA8A11-8055-4872-829E-9B4ACFB0448C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F3D0752F-4BE1-4DEA-9A91-C12628B9D905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27F6B00-C84C-430B-B7C2-DFB7384C7332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C86C1E6A-A2B0-4B52-82F6-EA7C2BB679FC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7" name="Copyright">
              <a:extLst>
                <a:ext uri="{FF2B5EF4-FFF2-40B4-BE49-F238E27FC236}">
                  <a16:creationId xmlns:a16="http://schemas.microsoft.com/office/drawing/2014/main" id="{6F9ADEBF-B227-47BA-9FFB-3881EE358DB3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D6CAC9C2-9DC0-4151-8814-3516E0ADB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7061683" cy="42229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349531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Blu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811140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C2C367-8056-426B-81B2-4B2C7238E5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6096000" y="-1"/>
            <a:ext cx="6098539" cy="6858001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454" y="6445295"/>
            <a:ext cx="15068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8C5468B-3210-455B-960F-ACC92937B434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D9F423ED-15C9-4DBA-A5CC-A74A55A44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623CBF1-457C-4491-90EE-6DE3BD9C2B8C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C5D61D5-4D53-4B2F-830C-7C2D09806F8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1E4918B8-A176-47C4-9264-39A91C78CD7E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3201241E-6654-4B58-A757-746A35947F4F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AC0D2E0D-CECA-462E-BAF3-CF92D72544E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A50CAD15-5BF3-4472-BDB9-3E3E4742DD64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C3511C1-3179-44B4-BB52-D2B10DA8A6E2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7DD1BCC-9230-417B-A5CC-E1D3F6F61041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7A77373-FE9B-46C2-BEB4-F8B0A94BD53E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CB8ABB54-E991-461F-9791-D895B90E6700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773B4D2-2297-4AFE-A952-85F190728CC5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E052044D-7360-4930-ACEF-75B0996C9E40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78EE721A-1842-4613-97C0-83F42E192EFE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E04EC6AA-4D0D-4D6B-A317-D59028CD1190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33B47ABB-E212-4C3A-93F4-8ECF298B2F14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8" name="Copyright">
              <a:extLst>
                <a:ext uri="{FF2B5EF4-FFF2-40B4-BE49-F238E27FC236}">
                  <a16:creationId xmlns:a16="http://schemas.microsoft.com/office/drawing/2014/main" id="{63A391B4-F2D4-4CEA-BB2D-6FE9C17F564E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93E1D190-1D55-4D58-B05F-8B0C78FE1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5123552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975172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er Slide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38369F-F8B4-42F9-9E33-ED43D3902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811257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38369F-F8B4-42F9-9E33-ED43D3902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6F88BD-D39D-4B55-A16B-68F5F7E3D6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9A2C76-32EA-4992-A965-D9260A5D160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82E60DA-1F02-9A45-8CE9-6CC78A3380F0}"/>
              </a:ext>
            </a:extLst>
          </p:cNvPr>
          <p:cNvSpPr/>
          <p:nvPr userDrawn="1"/>
        </p:nvSpPr>
        <p:spPr>
          <a:xfrm>
            <a:off x="1" y="0"/>
            <a:ext cx="2682587" cy="6858000"/>
          </a:xfrm>
          <a:prstGeom prst="rect">
            <a:avLst/>
          </a:prstGeom>
          <a:solidFill>
            <a:schemeClr val="bg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93BD1C-9237-8249-950A-62A7C86034D0}"/>
              </a:ext>
            </a:extLst>
          </p:cNvPr>
          <p:cNvSpPr/>
          <p:nvPr userDrawn="1"/>
        </p:nvSpPr>
        <p:spPr>
          <a:xfrm>
            <a:off x="1" y="3700464"/>
            <a:ext cx="9412014" cy="241458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410CA7A-4558-C443-9C75-2C8E863B7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592" y="4108436"/>
            <a:ext cx="8494899" cy="1569660"/>
          </a:xfrm>
          <a:effectLst>
            <a:outerShdw blurRad="1905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80000"/>
              </a:lnSpc>
              <a:defRPr lang="en-US" sz="60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A4D7170-2B51-4AFC-B047-0F5B3A69E471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DD1615D-0D55-4B48-87A2-0F30A4E3D8E7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C8D3D7F-D19B-49DE-9CB3-221A0639516B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30BC6AD-EFFB-4263-A0EB-5A8265D4385C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341753F-E8F7-47E2-8A08-516073C6B573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3E2B82A-AA52-459B-A885-2C9E46A7CA08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DCD4539-FE2A-4741-BBEF-2BADE6F5B99D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3FB79E5-53C4-46E5-AAF3-BCDBDA5A2D1D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09CEBDE-5D0C-41B5-85C2-CBC9DA810EFB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887E364-69C8-42A1-811A-4726514CBCE3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8A0E0BB-B67F-4B6F-A66E-3D42CC14F9E7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97C39D0-A99F-467C-9FAD-1FEC939449C9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B512C9A-2B27-4460-B3C8-AA6460E8DA65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A1FA1F5-B76B-4B98-99DC-DD1D17B7F23E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7" name="Copyright">
            <a:extLst>
              <a:ext uri="{FF2B5EF4-FFF2-40B4-BE49-F238E27FC236}">
                <a16:creationId xmlns:a16="http://schemas.microsoft.com/office/drawing/2014/main" id="{EB60B0AE-F9C0-4FBF-9FE6-F8CE2ED57C40}"/>
              </a:ext>
            </a:extLst>
          </p:cNvPr>
          <p:cNvSpPr txBox="1"/>
          <p:nvPr userDrawn="1"/>
        </p:nvSpPr>
        <p:spPr>
          <a:xfrm rot="16200000">
            <a:off x="11250972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. All rights reserved.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B037CC6-E5CE-4CBE-B183-A4AF78E15E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94972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_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38369F-F8B4-42F9-9E33-ED43D3902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57384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38369F-F8B4-42F9-9E33-ED43D3902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6F88BD-D39D-4B55-A16B-68F5F7E3D6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E076F7-2F5B-46F9-A7D4-BCD4A1BF4FB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grayscl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5571307-B5A1-49FA-8B2A-10157FD7593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55000">
                <a:schemeClr val="tx2">
                  <a:lumMod val="75000"/>
                  <a:alpha val="90000"/>
                </a:schemeClr>
              </a:gs>
              <a:gs pos="85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410CA7A-4558-C443-9C75-2C8E863B7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effectLst>
            <a:outerShdw blurRad="1905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80000"/>
              </a:lnSpc>
              <a:defRPr lang="en-US" sz="60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B037CC6-E5CE-4CBE-B183-A4AF78E15E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B1B01B0-505C-4864-BC9B-FBCE18D02D9C}"/>
              </a:ext>
            </a:extLst>
          </p:cNvPr>
          <p:cNvCxnSpPr>
            <a:cxnSpLocks/>
          </p:cNvCxnSpPr>
          <p:nvPr userDrawn="1"/>
        </p:nvCxnSpPr>
        <p:spPr>
          <a:xfrm>
            <a:off x="992389" y="5712304"/>
            <a:ext cx="154246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5DDDC21-5EC0-4BC6-A759-2D861F3A42C0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6CE34071-C191-4EA0-879B-938D0D7FB2DC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86C589D3-2A68-47B4-A186-DCD2A83FCFC8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BB41610-46EC-428B-835A-19794F87B288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335B418E-1CF7-49D6-9410-F4E0F9CA8FD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75874F1C-8BBD-43D9-9576-2326771CDA5E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41BF7ED0-D40C-414C-A361-03E0EC0CA1B8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0A1FE6F-2C49-4E56-BBB6-F7F2308FE7A5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8FE97711-BCB1-4A87-B444-FE49A24C954C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C90751F-BC28-4C38-9AEE-4FE522001DE3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4759EB0F-4722-48F9-98B5-35600B2F5F54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1E9ED425-DEE8-4FE5-B40D-E5D7FC3B173C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6FED47B5-7813-41FF-82AD-062C1EBA79EB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3412D8B3-B39C-4308-9921-278312CC9BDA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279E12B4-9493-4742-A8EB-9E495955EF01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34" name="Copyright">
              <a:extLst>
                <a:ext uri="{FF2B5EF4-FFF2-40B4-BE49-F238E27FC236}">
                  <a16:creationId xmlns:a16="http://schemas.microsoft.com/office/drawing/2014/main" id="{063EE5AF-0F23-4E4D-946B-2EF723C73A98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9317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02073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3E76732-5A5F-B03D-320E-52CD6F1CBCF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43457" y="2592164"/>
            <a:ext cx="4386551" cy="164023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106A152-DC8B-0C47-8CFD-D99759D28F81}"/>
              </a:ext>
            </a:extLst>
          </p:cNvPr>
          <p:cNvSpPr txBox="1"/>
          <p:nvPr userDrawn="1"/>
        </p:nvSpPr>
        <p:spPr>
          <a:xfrm>
            <a:off x="550863" y="5965461"/>
            <a:ext cx="302948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1" i="0" u="none" dirty="0">
                <a:solidFill>
                  <a:schemeClr val="accent3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  <a:sym typeface="Calibri" panose="020F0502020204030204" pitchFamily="34" charset="0"/>
              </a:rPr>
              <a:t>www.infomineo.com</a:t>
            </a:r>
          </a:p>
          <a:p>
            <a:pPr algn="l"/>
            <a:r>
              <a:rPr lang="en-GB" sz="1200" b="0" i="0" dirty="0">
                <a:solidFill>
                  <a:schemeClr val="bg1"/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  <a:sym typeface="Calibri" panose="020F0502020204030204" pitchFamily="34" charset="0"/>
              </a:rPr>
              <a:t>Infomineo Copyright © 2023. All rights reserved.</a:t>
            </a:r>
          </a:p>
        </p:txBody>
      </p:sp>
      <p:pic>
        <p:nvPicPr>
          <p:cNvPr id="30" name="Picture 29">
            <a:hlinkClick r:id="rId7"/>
            <a:extLst>
              <a:ext uri="{FF2B5EF4-FFF2-40B4-BE49-F238E27FC236}">
                <a16:creationId xmlns:a16="http://schemas.microsoft.com/office/drawing/2014/main" id="{3ED467EF-C028-4376-B7C8-A8830D77CF7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3329" y="5965461"/>
            <a:ext cx="370332" cy="370332"/>
          </a:xfrm>
          <a:prstGeom prst="rect">
            <a:avLst/>
          </a:prstGeom>
        </p:spPr>
      </p:pic>
      <p:pic>
        <p:nvPicPr>
          <p:cNvPr id="32" name="Picture 31">
            <a:hlinkClick r:id="rId9"/>
            <a:extLst>
              <a:ext uri="{FF2B5EF4-FFF2-40B4-BE49-F238E27FC236}">
                <a16:creationId xmlns:a16="http://schemas.microsoft.com/office/drawing/2014/main" id="{3BF2889F-2FC0-49EE-9DAD-8868FC3BE52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965" y="5965461"/>
            <a:ext cx="368808" cy="370332"/>
          </a:xfrm>
          <a:prstGeom prst="rect">
            <a:avLst/>
          </a:prstGeom>
        </p:spPr>
      </p:pic>
      <p:pic>
        <p:nvPicPr>
          <p:cNvPr id="34" name="Picture 33">
            <a:hlinkClick r:id="rId11"/>
            <a:extLst>
              <a:ext uri="{FF2B5EF4-FFF2-40B4-BE49-F238E27FC236}">
                <a16:creationId xmlns:a16="http://schemas.microsoft.com/office/drawing/2014/main" id="{96507CF0-D683-43B8-9352-634205E2EC2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8600" y="5965461"/>
            <a:ext cx="368808" cy="37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79169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>
            <a:extLst>
              <a:ext uri="{FF2B5EF4-FFF2-40B4-BE49-F238E27FC236}">
                <a16:creationId xmlns:a16="http://schemas.microsoft.com/office/drawing/2014/main" id="{C7E8C095-69F2-4BC8-964E-A1BFE9309E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833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9" name="Object 48" hidden="1">
                        <a:extLst>
                          <a:ext uri="{FF2B5EF4-FFF2-40B4-BE49-F238E27FC236}">
                            <a16:creationId xmlns:a16="http://schemas.microsoft.com/office/drawing/2014/main" id="{C7E8C095-69F2-4BC8-964E-A1BFE9309E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5F11C0-1445-4182-AF87-C63E0DB6C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7" name="Freeform: Shape 95">
            <a:extLst>
              <a:ext uri="{FF2B5EF4-FFF2-40B4-BE49-F238E27FC236}">
                <a16:creationId xmlns:a16="http://schemas.microsoft.com/office/drawing/2014/main" id="{E5A08834-247C-4C9E-93E7-8514C051C060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566584 w 12193200"/>
              <a:gd name="connsiteY0" fmla="*/ 549276 h 6858000"/>
              <a:gd name="connsiteX1" fmla="*/ 566584 w 12193200"/>
              <a:gd name="connsiteY1" fmla="*/ 6308726 h 6858000"/>
              <a:gd name="connsiteX2" fmla="*/ 11641138 w 12193200"/>
              <a:gd name="connsiteY2" fmla="*/ 6308726 h 6858000"/>
              <a:gd name="connsiteX3" fmla="*/ 11641138 w 12193200"/>
              <a:gd name="connsiteY3" fmla="*/ 549276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22800 h 6858000"/>
              <a:gd name="connsiteX7" fmla="*/ 12192000 w 12193200"/>
              <a:gd name="connsiteY7" fmla="*/ 622800 h 6858000"/>
              <a:gd name="connsiteX8" fmla="*/ 12192000 w 12193200"/>
              <a:gd name="connsiteY8" fmla="*/ 6160597 h 6858000"/>
              <a:gd name="connsiteX9" fmla="*/ 12193200 w 12193200"/>
              <a:gd name="connsiteY9" fmla="*/ 6160597 h 6858000"/>
              <a:gd name="connsiteX10" fmla="*/ 12193200 w 12193200"/>
              <a:gd name="connsiteY10" fmla="*/ 6858000 h 6858000"/>
              <a:gd name="connsiteX11" fmla="*/ 12192000 w 12193200"/>
              <a:gd name="connsiteY11" fmla="*/ 6858000 h 6858000"/>
              <a:gd name="connsiteX12" fmla="*/ 11562000 w 12193200"/>
              <a:gd name="connsiteY12" fmla="*/ 6858000 h 6858000"/>
              <a:gd name="connsiteX13" fmla="*/ 630001 w 12193200"/>
              <a:gd name="connsiteY13" fmla="*/ 6858000 h 6858000"/>
              <a:gd name="connsiteX14" fmla="*/ 1 w 12193200"/>
              <a:gd name="connsiteY14" fmla="*/ 6858000 h 6858000"/>
              <a:gd name="connsiteX15" fmla="*/ 1 w 12193200"/>
              <a:gd name="connsiteY15" fmla="*/ 6160597 h 6858000"/>
              <a:gd name="connsiteX16" fmla="*/ 1 w 12193200"/>
              <a:gd name="connsiteY16" fmla="*/ 622800 h 6858000"/>
              <a:gd name="connsiteX17" fmla="*/ 0 w 12193200"/>
              <a:gd name="connsiteY17" fmla="*/ 622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3200" h="685800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5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59B0D14-7DD8-45E2-B968-99300FF0D28D}"/>
              </a:ext>
            </a:extLst>
          </p:cNvPr>
          <p:cNvGrpSpPr/>
          <p:nvPr userDrawn="1"/>
        </p:nvGrpSpPr>
        <p:grpSpPr>
          <a:xfrm>
            <a:off x="-600" y="549275"/>
            <a:ext cx="12193200" cy="5759450"/>
            <a:chOff x="-600" y="549275"/>
            <a:chExt cx="12193200" cy="5759450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FD9771C-C32F-443B-97DA-AB808B787FCB}"/>
                </a:ext>
              </a:extLst>
            </p:cNvPr>
            <p:cNvCxnSpPr/>
            <p:nvPr/>
          </p:nvCxnSpPr>
          <p:spPr>
            <a:xfrm>
              <a:off x="-600" y="54927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ACFDCFA-8871-4375-9DD7-4FC5886280A9}"/>
                </a:ext>
              </a:extLst>
            </p:cNvPr>
            <p:cNvCxnSpPr/>
            <p:nvPr/>
          </p:nvCxnSpPr>
          <p:spPr>
            <a:xfrm>
              <a:off x="-600" y="1072861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BCC4B7F-FEF1-4EA1-831D-C9AA6F5F064E}"/>
                </a:ext>
              </a:extLst>
            </p:cNvPr>
            <p:cNvCxnSpPr/>
            <p:nvPr/>
          </p:nvCxnSpPr>
          <p:spPr>
            <a:xfrm>
              <a:off x="-600" y="1334654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81DCA16-8F73-4630-BDD0-2A70C4A58AB4}"/>
                </a:ext>
              </a:extLst>
            </p:cNvPr>
            <p:cNvCxnSpPr/>
            <p:nvPr/>
          </p:nvCxnSpPr>
          <p:spPr>
            <a:xfrm>
              <a:off x="-600" y="1596447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BC31EB1-B3A4-46CF-BFA4-063B67EE1C0D}"/>
                </a:ext>
              </a:extLst>
            </p:cNvPr>
            <p:cNvCxnSpPr/>
            <p:nvPr/>
          </p:nvCxnSpPr>
          <p:spPr>
            <a:xfrm>
              <a:off x="-600" y="1858240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93E6A85-DDE0-4463-B476-9FA784357023}"/>
                </a:ext>
              </a:extLst>
            </p:cNvPr>
            <p:cNvCxnSpPr/>
            <p:nvPr/>
          </p:nvCxnSpPr>
          <p:spPr>
            <a:xfrm>
              <a:off x="-600" y="2120033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A4D7F3C-5BD5-4AC2-88A1-966E801F5AED}"/>
                </a:ext>
              </a:extLst>
            </p:cNvPr>
            <p:cNvCxnSpPr/>
            <p:nvPr/>
          </p:nvCxnSpPr>
          <p:spPr>
            <a:xfrm>
              <a:off x="-600" y="2381826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2775BB7-F520-4F81-AF6D-F59D1B76F55E}"/>
                </a:ext>
              </a:extLst>
            </p:cNvPr>
            <p:cNvCxnSpPr/>
            <p:nvPr/>
          </p:nvCxnSpPr>
          <p:spPr>
            <a:xfrm>
              <a:off x="-600" y="2643619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CB72474-2AC2-420E-BDB5-E5A722B50684}"/>
                </a:ext>
              </a:extLst>
            </p:cNvPr>
            <p:cNvCxnSpPr/>
            <p:nvPr/>
          </p:nvCxnSpPr>
          <p:spPr>
            <a:xfrm>
              <a:off x="-600" y="2905412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7F88338-30AC-49A0-A5C4-EC7BD34E1FA6}"/>
                </a:ext>
              </a:extLst>
            </p:cNvPr>
            <p:cNvCxnSpPr/>
            <p:nvPr/>
          </p:nvCxnSpPr>
          <p:spPr>
            <a:xfrm>
              <a:off x="-600" y="316720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A4A82DD-B8CC-462B-93E9-CBC87352521F}"/>
                </a:ext>
              </a:extLst>
            </p:cNvPr>
            <p:cNvCxnSpPr/>
            <p:nvPr/>
          </p:nvCxnSpPr>
          <p:spPr>
            <a:xfrm>
              <a:off x="-600" y="342899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086DFAD-90A1-4761-A1F6-2CECC9F3CEB8}"/>
                </a:ext>
              </a:extLst>
            </p:cNvPr>
            <p:cNvCxnSpPr/>
            <p:nvPr/>
          </p:nvCxnSpPr>
          <p:spPr>
            <a:xfrm>
              <a:off x="-600" y="3690791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A73AC16-3E18-48F7-97ED-8B5A48560A3B}"/>
                </a:ext>
              </a:extLst>
            </p:cNvPr>
            <p:cNvCxnSpPr/>
            <p:nvPr/>
          </p:nvCxnSpPr>
          <p:spPr>
            <a:xfrm>
              <a:off x="-600" y="3952584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32B4CC9-D426-40F8-825B-C7E1196189B4}"/>
                </a:ext>
              </a:extLst>
            </p:cNvPr>
            <p:cNvCxnSpPr/>
            <p:nvPr/>
          </p:nvCxnSpPr>
          <p:spPr>
            <a:xfrm>
              <a:off x="-600" y="4214377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9DD5A36E-8435-4B1C-8462-1C956794FC17}"/>
                </a:ext>
              </a:extLst>
            </p:cNvPr>
            <p:cNvCxnSpPr/>
            <p:nvPr/>
          </p:nvCxnSpPr>
          <p:spPr>
            <a:xfrm>
              <a:off x="-600" y="4476170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D85A532-653B-4FD3-A2B9-908071F117D2}"/>
                </a:ext>
              </a:extLst>
            </p:cNvPr>
            <p:cNvCxnSpPr/>
            <p:nvPr/>
          </p:nvCxnSpPr>
          <p:spPr>
            <a:xfrm>
              <a:off x="-600" y="4737963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CDE1136A-6637-439F-89A7-D7F878D15199}"/>
                </a:ext>
              </a:extLst>
            </p:cNvPr>
            <p:cNvCxnSpPr/>
            <p:nvPr/>
          </p:nvCxnSpPr>
          <p:spPr>
            <a:xfrm>
              <a:off x="-600" y="4999756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4A0A4627-9F33-480E-B584-D2625F29AB95}"/>
                </a:ext>
              </a:extLst>
            </p:cNvPr>
            <p:cNvCxnSpPr/>
            <p:nvPr/>
          </p:nvCxnSpPr>
          <p:spPr>
            <a:xfrm>
              <a:off x="-600" y="5261549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49037A92-0EC2-4FBA-A847-8D0F6C45AD99}"/>
                </a:ext>
              </a:extLst>
            </p:cNvPr>
            <p:cNvCxnSpPr/>
            <p:nvPr/>
          </p:nvCxnSpPr>
          <p:spPr>
            <a:xfrm>
              <a:off x="-600" y="5523342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6B45D501-68B8-4FBE-8794-3CDE530B5439}"/>
                </a:ext>
              </a:extLst>
            </p:cNvPr>
            <p:cNvCxnSpPr/>
            <p:nvPr userDrawn="1"/>
          </p:nvCxnSpPr>
          <p:spPr>
            <a:xfrm>
              <a:off x="-600" y="578513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C63DF98-DC31-4B0A-9A94-9B9C493BD0DD}"/>
                </a:ext>
              </a:extLst>
            </p:cNvPr>
            <p:cNvCxnSpPr/>
            <p:nvPr userDrawn="1"/>
          </p:nvCxnSpPr>
          <p:spPr>
            <a:xfrm>
              <a:off x="-600" y="81106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D97F595-E8CD-4823-A296-F9B434149D35}"/>
                </a:ext>
              </a:extLst>
            </p:cNvPr>
            <p:cNvCxnSpPr/>
            <p:nvPr userDrawn="1"/>
          </p:nvCxnSpPr>
          <p:spPr>
            <a:xfrm>
              <a:off x="-600" y="630872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67767E29-78AA-446B-8F14-50FFE81A75D5}"/>
                </a:ext>
              </a:extLst>
            </p:cNvPr>
            <p:cNvCxnSpPr/>
            <p:nvPr userDrawn="1"/>
          </p:nvCxnSpPr>
          <p:spPr>
            <a:xfrm>
              <a:off x="-600" y="604692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Footnote measure">
            <a:extLst>
              <a:ext uri="{FF2B5EF4-FFF2-40B4-BE49-F238E27FC236}">
                <a16:creationId xmlns:a16="http://schemas.microsoft.com/office/drawing/2014/main" id="{FCB67C59-94A5-43D0-98F3-D2DF706BE6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50264" y="6308722"/>
            <a:ext cx="11090873" cy="261799"/>
          </a:xfrm>
          <a:prstGeom prst="rect">
            <a:avLst/>
          </a:prstGeom>
          <a:solidFill>
            <a:srgbClr val="FF0000">
              <a:alpha val="1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Whitespace measure">
            <a:extLst>
              <a:ext uri="{FF2B5EF4-FFF2-40B4-BE49-F238E27FC236}">
                <a16:creationId xmlns:a16="http://schemas.microsoft.com/office/drawing/2014/main" id="{B9FA0CC8-4D85-4377-9762-D979C28385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50864" y="1348222"/>
            <a:ext cx="11105556" cy="509202"/>
          </a:xfrm>
          <a:prstGeom prst="rect">
            <a:avLst/>
          </a:prstGeom>
          <a:solidFill>
            <a:srgbClr val="FF0000">
              <a:alpha val="5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Live area">
            <a:extLst>
              <a:ext uri="{FF2B5EF4-FFF2-40B4-BE49-F238E27FC236}">
                <a16:creationId xmlns:a16="http://schemas.microsoft.com/office/drawing/2014/main" id="{AA787823-C275-4031-9AC7-3513520EE759}"/>
              </a:ext>
            </a:extLst>
          </p:cNvPr>
          <p:cNvSpPr/>
          <p:nvPr userDrawn="1"/>
        </p:nvSpPr>
        <p:spPr>
          <a:xfrm>
            <a:off x="550864" y="2120034"/>
            <a:ext cx="11090275" cy="4188692"/>
          </a:xfrm>
          <a:custGeom>
            <a:avLst/>
            <a:gdLst>
              <a:gd name="connsiteX0" fmla="*/ 0 w 10931999"/>
              <a:gd name="connsiteY0" fmla="*/ 0 h 5537797"/>
              <a:gd name="connsiteX1" fmla="*/ 10931999 w 10931999"/>
              <a:gd name="connsiteY1" fmla="*/ 0 h 5537797"/>
              <a:gd name="connsiteX2" fmla="*/ 10931999 w 10931999"/>
              <a:gd name="connsiteY2" fmla="*/ 5537797 h 5537797"/>
              <a:gd name="connsiteX3" fmla="*/ 0 w 10931999"/>
              <a:gd name="connsiteY3" fmla="*/ 5537797 h 553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31999" h="5537797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>
            <a:solidFill>
              <a:schemeClr val="tx2">
                <a:alpha val="3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1AA03C-D537-4B50-8AA2-DE2B0859A9E0}"/>
              </a:ext>
            </a:extLst>
          </p:cNvPr>
          <p:cNvGrpSpPr/>
          <p:nvPr userDrawn="1"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  <a:solidFill>
            <a:schemeClr val="tx2">
              <a:lumMod val="40000"/>
              <a:lumOff val="60000"/>
              <a:alpha val="10000"/>
            </a:schemeClr>
          </a:solidFill>
        </p:grpSpPr>
        <p:sp>
          <p:nvSpPr>
            <p:cNvPr id="13" name="Rectangle 34">
              <a:extLst>
                <a:ext uri="{FF2B5EF4-FFF2-40B4-BE49-F238E27FC236}">
                  <a16:creationId xmlns:a16="http://schemas.microsoft.com/office/drawing/2014/main" id="{CEBF00D2-4B24-426D-BD4A-087B43FE3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Rectangle 35">
              <a:extLst>
                <a:ext uri="{FF2B5EF4-FFF2-40B4-BE49-F238E27FC236}">
                  <a16:creationId xmlns:a16="http://schemas.microsoft.com/office/drawing/2014/main" id="{6BD82B4A-4BB0-4614-B13C-4CFCC7A22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Rectangle 36">
              <a:extLst>
                <a:ext uri="{FF2B5EF4-FFF2-40B4-BE49-F238E27FC236}">
                  <a16:creationId xmlns:a16="http://schemas.microsoft.com/office/drawing/2014/main" id="{BF9ACD5F-BA8A-4218-BB75-6E90A13EF9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7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Rectangle 37">
              <a:extLst>
                <a:ext uri="{FF2B5EF4-FFF2-40B4-BE49-F238E27FC236}">
                  <a16:creationId xmlns:a16="http://schemas.microsoft.com/office/drawing/2014/main" id="{379A22D2-DA96-41ED-9D9E-1155426DFF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42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Rectangle 38">
              <a:extLst>
                <a:ext uri="{FF2B5EF4-FFF2-40B4-BE49-F238E27FC236}">
                  <a16:creationId xmlns:a16="http://schemas.microsoft.com/office/drawing/2014/main" id="{7EF7963D-A1E1-415D-8969-F027A75D12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Rectangle 39">
              <a:extLst>
                <a:ext uri="{FF2B5EF4-FFF2-40B4-BE49-F238E27FC236}">
                  <a16:creationId xmlns:a16="http://schemas.microsoft.com/office/drawing/2014/main" id="{BBE34D05-AF10-4FE9-A201-F9E2A8027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2839" y="549274"/>
              <a:ext cx="288000" cy="5759450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Rectangle 40">
              <a:extLst>
                <a:ext uri="{FF2B5EF4-FFF2-40B4-BE49-F238E27FC236}">
                  <a16:creationId xmlns:a16="http://schemas.microsoft.com/office/drawing/2014/main" id="{349BF860-A8A0-4AB9-B299-1AF824195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Rectangle 41">
              <a:extLst>
                <a:ext uri="{FF2B5EF4-FFF2-40B4-BE49-F238E27FC236}">
                  <a16:creationId xmlns:a16="http://schemas.microsoft.com/office/drawing/2014/main" id="{3E2A80A6-61F6-4E58-B43B-059CCD29C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2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Rectangle 42">
              <a:extLst>
                <a:ext uri="{FF2B5EF4-FFF2-40B4-BE49-F238E27FC236}">
                  <a16:creationId xmlns:a16="http://schemas.microsoft.com/office/drawing/2014/main" id="{0F927BDE-7613-4A1B-9405-C18A0AA02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Rectangle 43">
              <a:extLst>
                <a:ext uri="{FF2B5EF4-FFF2-40B4-BE49-F238E27FC236}">
                  <a16:creationId xmlns:a16="http://schemas.microsoft.com/office/drawing/2014/main" id="{9D0BF9DE-3D09-432F-B97F-D68AFE1C7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7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Rectangle 44">
              <a:extLst>
                <a:ext uri="{FF2B5EF4-FFF2-40B4-BE49-F238E27FC236}">
                  <a16:creationId xmlns:a16="http://schemas.microsoft.com/office/drawing/2014/main" id="{7807AD9B-3A59-4121-9F68-FB858FD6D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47" name="Footnote example">
            <a:extLst>
              <a:ext uri="{FF2B5EF4-FFF2-40B4-BE49-F238E27FC236}">
                <a16:creationId xmlns:a16="http://schemas.microsoft.com/office/drawing/2014/main" id="{DBF27226-1CAE-4EC3-B7C2-CD7BFF212B2F}"/>
              </a:ext>
            </a:extLst>
          </p:cNvPr>
          <p:cNvSpPr txBox="1"/>
          <p:nvPr userDrawn="1"/>
        </p:nvSpPr>
        <p:spPr>
          <a:xfrm>
            <a:off x="550863" y="6310249"/>
            <a:ext cx="9030915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Footnotes/Notes</a:t>
            </a:r>
          </a:p>
          <a:p>
            <a:pPr marL="0" marR="0" lvl="0" indent="0" algn="l" defTabSz="914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Source: Include a source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491C5D-1CCA-4AD2-960D-E2D2520D37E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490154" y="6450226"/>
            <a:ext cx="150682" cy="15388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2547BBBC-05CB-49BC-A9CC-2D869F0C1D2C}" type="slidenum">
              <a:rPr lang="en-IN" smtClean="0"/>
              <a:pPr/>
              <a:t>‹#›</a:t>
            </a:fld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A5092CC-99B7-42FA-B922-D9A469AA61A3}"/>
              </a:ext>
            </a:extLst>
          </p:cNvPr>
          <p:cNvGrpSpPr/>
          <p:nvPr userDrawn="1"/>
        </p:nvGrpSpPr>
        <p:grpSpPr>
          <a:xfrm>
            <a:off x="550864" y="6156604"/>
            <a:ext cx="11089971" cy="55199"/>
            <a:chOff x="550864" y="6156603"/>
            <a:chExt cx="11089971" cy="55199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7D78F6B-68EA-4677-8270-E6CE44B4A9DC}"/>
                </a:ext>
              </a:extLst>
            </p:cNvPr>
            <p:cNvSpPr/>
            <p:nvPr userDrawn="1"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6E6D155-C668-4620-947B-CD6756DB3E3F}"/>
                </a:ext>
              </a:extLst>
            </p:cNvPr>
            <p:cNvSpPr/>
            <p:nvPr userDrawn="1"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3A33606-AE46-4272-A076-D6F1DEF2BE14}"/>
                </a:ext>
              </a:extLst>
            </p:cNvPr>
            <p:cNvSpPr/>
            <p:nvPr userDrawn="1"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7AF00D4-2C2C-4B64-AC48-30E76E740B68}"/>
                </a:ext>
              </a:extLst>
            </p:cNvPr>
            <p:cNvSpPr/>
            <p:nvPr userDrawn="1"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53F07A3-100A-4285-8103-25EB4F518B92}"/>
                </a:ext>
              </a:extLst>
            </p:cNvPr>
            <p:cNvSpPr/>
            <p:nvPr userDrawn="1"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C3F2152-358B-4AF4-9E4C-FFC021458588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EE3E2D1-AA6B-4858-AEA5-CA4E153942A1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8F01DC23-2710-4E23-8ECF-D42A01049798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625F897C-F6DC-43F6-83A9-103566BB7B1A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297483D6-4F68-4046-9938-3975F46B128B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0260B8F-626E-4F6C-82D6-73BBB93D898A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C8041FBB-4E11-4186-939C-922BB885CE7F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B9D46F4-06A5-41BD-A370-19C37CA28B53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B4380E05-CB91-42D7-A593-68D7E79B69EF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D399139-04A8-4906-A0E9-F32ED37B1DB5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E2C3744-960D-4FE8-A425-0A1BCCBFDCE3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656CA51-5E36-4B65-AAB5-604B2FFF1CA6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BEF9EA6-DC0A-4745-950A-75EB35C11A83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C185182D-9507-4706-B5C3-7D60904B8C41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DC967172-2751-4E17-ACEB-B9AC16A1C8EE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B1C13260-A832-4897-8C2A-B004FA9AB5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59" name="Copyright">
              <a:extLst>
                <a:ext uri="{FF2B5EF4-FFF2-40B4-BE49-F238E27FC236}">
                  <a16:creationId xmlns:a16="http://schemas.microsoft.com/office/drawing/2014/main" id="{4E29D673-EFE2-4CE9-96D3-54B928054039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9679ACBB-550D-47A2-9ADD-A6C09F32A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9"/>
            <a:ext cx="11089972" cy="44318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IN"/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A9FA602-B0B9-4981-B1E1-9FFC8BD86320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929097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ue Layout" preserve="1">
  <p:cSld name="Blue Layou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8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2" tIns="45699" rIns="91422" bIns="45699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0" name="Google Shape;50;p83"/>
          <p:cNvGrpSpPr/>
          <p:nvPr/>
        </p:nvGrpSpPr>
        <p:grpSpPr>
          <a:xfrm>
            <a:off x="11998459" y="6162189"/>
            <a:ext cx="68500" cy="441925"/>
            <a:chOff x="11998459" y="6162188"/>
            <a:chExt cx="68500" cy="441925"/>
          </a:xfrm>
        </p:grpSpPr>
        <p:sp>
          <p:nvSpPr>
            <p:cNvPr id="51" name="Google Shape;51;p83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83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83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83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83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83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83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83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83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83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83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62;p83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63;p83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" name="Google Shape;64;p83"/>
          <p:cNvSpPr txBox="1"/>
          <p:nvPr/>
        </p:nvSpPr>
        <p:spPr>
          <a:xfrm rot="-5400000">
            <a:off x="11250972" y="5290632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0" dirty="0"/>
          </a:p>
        </p:txBody>
      </p:sp>
      <p:sp>
        <p:nvSpPr>
          <p:cNvPr id="65" name="Google Shape;65;p83"/>
          <p:cNvSpPr txBox="1">
            <a:spLocks noGrp="1"/>
          </p:cNvSpPr>
          <p:nvPr>
            <p:ph type="ftr" idx="11"/>
          </p:nvPr>
        </p:nvSpPr>
        <p:spPr>
          <a:xfrm>
            <a:off x="550863" y="6429937"/>
            <a:ext cx="955390" cy="1538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83"/>
          <p:cNvSpPr txBox="1">
            <a:spLocks noGrp="1"/>
          </p:cNvSpPr>
          <p:nvPr>
            <p:ph type="sldNum" idx="12"/>
          </p:nvPr>
        </p:nvSpPr>
        <p:spPr>
          <a:xfrm>
            <a:off x="11490154" y="6465614"/>
            <a:ext cx="150682" cy="1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91118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7231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C7EB34-6497-4D19-B99E-5F4D7F924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4" r="-1" b="-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0270E3B-760C-41F0-B9D6-A2E014047679}"/>
              </a:ext>
            </a:extLst>
          </p:cNvPr>
          <p:cNvSpPr/>
          <p:nvPr userDrawn="1"/>
        </p:nvSpPr>
        <p:spPr>
          <a:xfrm>
            <a:off x="536449" y="0"/>
            <a:ext cx="6363291" cy="147521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45000">
                <a:schemeClr val="tx2">
                  <a:lumMod val="50000"/>
                  <a:alpha val="90000"/>
                </a:schemeClr>
              </a:gs>
              <a:gs pos="100000">
                <a:schemeClr val="tx2">
                  <a:lumMod val="75000"/>
                  <a:alpha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1844677"/>
            <a:ext cx="6363291" cy="501332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b="0" cap="none" baseline="0" dirty="0">
                <a:solidFill>
                  <a:schemeClr val="bg1"/>
                </a:solidFill>
                <a:latin typeface="Franklin Gothic Demi" panose="020B07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73CF3BF-BC79-895D-2080-23B54D7D49E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5582" y="172909"/>
            <a:ext cx="2992347" cy="1118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8863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623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88B1CBF-9B2F-4725-98BB-E3D2571154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2175804"/>
            <a:ext cx="54006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857376"/>
            <a:ext cx="5400675" cy="263149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4" y="2175804"/>
            <a:ext cx="54006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464" y="1857376"/>
            <a:ext cx="5400675" cy="263149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56E97DD-069F-4133-A109-0593CB969E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29206352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2521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 descr="A person holding a phone&#10;&#10;Description automatically generated with low confidence">
            <a:extLst>
              <a:ext uri="{FF2B5EF4-FFF2-40B4-BE49-F238E27FC236}">
                <a16:creationId xmlns:a16="http://schemas.microsoft.com/office/drawing/2014/main" id="{E6014E73-E918-7E3B-1116-0A79F39C8C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22" t="-1" r="21590"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0270E3B-760C-41F0-B9D6-A2E014047679}"/>
              </a:ext>
            </a:extLst>
          </p:cNvPr>
          <p:cNvSpPr/>
          <p:nvPr userDrawn="1"/>
        </p:nvSpPr>
        <p:spPr>
          <a:xfrm>
            <a:off x="536449" y="0"/>
            <a:ext cx="6363291" cy="147521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45000">
                <a:schemeClr val="tx2">
                  <a:lumMod val="50000"/>
                  <a:alpha val="90000"/>
                </a:schemeClr>
              </a:gs>
              <a:gs pos="100000">
                <a:schemeClr val="tx2">
                  <a:lumMod val="75000"/>
                  <a:alpha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CEEA00B-DE05-BC01-6E87-AC9F343D546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5582" y="172909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C7EB34-6497-4D19-B99E-5F4D7F924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1844677"/>
            <a:ext cx="6363291" cy="501332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b="0" cap="none" baseline="0" dirty="0">
                <a:solidFill>
                  <a:schemeClr val="bg1"/>
                </a:solidFill>
                <a:latin typeface="Franklin Gothic Demi" panose="020B07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  <a:endParaRPr lang="en-US" dirty="0"/>
          </a:p>
        </p:txBody>
      </p:sp>
      <p:grpSp>
        <p:nvGrpSpPr>
          <p:cNvPr id="7" name="Google Shape;36;p40">
            <a:extLst>
              <a:ext uri="{FF2B5EF4-FFF2-40B4-BE49-F238E27FC236}">
                <a16:creationId xmlns:a16="http://schemas.microsoft.com/office/drawing/2014/main" id="{71CB15B7-864A-9DC1-657D-C5E29829C0C4}"/>
              </a:ext>
            </a:extLst>
          </p:cNvPr>
          <p:cNvGrpSpPr/>
          <p:nvPr userDrawn="1"/>
        </p:nvGrpSpPr>
        <p:grpSpPr>
          <a:xfrm>
            <a:off x="11998460" y="6162190"/>
            <a:ext cx="68500" cy="441924"/>
            <a:chOff x="11998459" y="6162188"/>
            <a:chExt cx="68500" cy="441925"/>
          </a:xfrm>
        </p:grpSpPr>
        <p:sp>
          <p:nvSpPr>
            <p:cNvPr id="8" name="Google Shape;37;p40">
              <a:extLst>
                <a:ext uri="{FF2B5EF4-FFF2-40B4-BE49-F238E27FC236}">
                  <a16:creationId xmlns:a16="http://schemas.microsoft.com/office/drawing/2014/main" id="{EA80B92E-3B36-97BC-4D57-7347B591B62F}"/>
                </a:ext>
              </a:extLst>
            </p:cNvPr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8;p40">
              <a:extLst>
                <a:ext uri="{FF2B5EF4-FFF2-40B4-BE49-F238E27FC236}">
                  <a16:creationId xmlns:a16="http://schemas.microsoft.com/office/drawing/2014/main" id="{4995F9A6-17AD-A39B-8EA7-0DE7FBFF28FE}"/>
                </a:ext>
              </a:extLst>
            </p:cNvPr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9;p40">
              <a:extLst>
                <a:ext uri="{FF2B5EF4-FFF2-40B4-BE49-F238E27FC236}">
                  <a16:creationId xmlns:a16="http://schemas.microsoft.com/office/drawing/2014/main" id="{34E53C25-2166-CAC6-9E8F-A0BE178603EB}"/>
                </a:ext>
              </a:extLst>
            </p:cNvPr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40;p40">
              <a:extLst>
                <a:ext uri="{FF2B5EF4-FFF2-40B4-BE49-F238E27FC236}">
                  <a16:creationId xmlns:a16="http://schemas.microsoft.com/office/drawing/2014/main" id="{5B114610-DBFE-CDA2-3B7A-F0C2EE7DB0A5}"/>
                </a:ext>
              </a:extLst>
            </p:cNvPr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41;p40">
              <a:extLst>
                <a:ext uri="{FF2B5EF4-FFF2-40B4-BE49-F238E27FC236}">
                  <a16:creationId xmlns:a16="http://schemas.microsoft.com/office/drawing/2014/main" id="{7D0C0229-5440-8189-5503-5D9E544B57CA}"/>
                </a:ext>
              </a:extLst>
            </p:cNvPr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42;p40">
              <a:extLst>
                <a:ext uri="{FF2B5EF4-FFF2-40B4-BE49-F238E27FC236}">
                  <a16:creationId xmlns:a16="http://schemas.microsoft.com/office/drawing/2014/main" id="{FC619FBD-843D-EBA5-67AB-147D3A892EE3}"/>
                </a:ext>
              </a:extLst>
            </p:cNvPr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43;p40">
              <a:extLst>
                <a:ext uri="{FF2B5EF4-FFF2-40B4-BE49-F238E27FC236}">
                  <a16:creationId xmlns:a16="http://schemas.microsoft.com/office/drawing/2014/main" id="{CCC34957-9A7C-0763-8B57-5A07BF04DFF2}"/>
                </a:ext>
              </a:extLst>
            </p:cNvPr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44;p40">
              <a:extLst>
                <a:ext uri="{FF2B5EF4-FFF2-40B4-BE49-F238E27FC236}">
                  <a16:creationId xmlns:a16="http://schemas.microsoft.com/office/drawing/2014/main" id="{AFA1F52E-53BE-E294-409A-0652228C6A15}"/>
                </a:ext>
              </a:extLst>
            </p:cNvPr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45;p40">
              <a:extLst>
                <a:ext uri="{FF2B5EF4-FFF2-40B4-BE49-F238E27FC236}">
                  <a16:creationId xmlns:a16="http://schemas.microsoft.com/office/drawing/2014/main" id="{E3E692E2-49D9-5C5D-0473-3946E393C3DF}"/>
                </a:ext>
              </a:extLst>
            </p:cNvPr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46;p40">
              <a:extLst>
                <a:ext uri="{FF2B5EF4-FFF2-40B4-BE49-F238E27FC236}">
                  <a16:creationId xmlns:a16="http://schemas.microsoft.com/office/drawing/2014/main" id="{3184E9C6-3ECC-49EC-2BCB-E2FD9A3F5F76}"/>
                </a:ext>
              </a:extLst>
            </p:cNvPr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47;p40">
              <a:extLst>
                <a:ext uri="{FF2B5EF4-FFF2-40B4-BE49-F238E27FC236}">
                  <a16:creationId xmlns:a16="http://schemas.microsoft.com/office/drawing/2014/main" id="{44E2B659-1506-7949-0B17-5E4459601EB9}"/>
                </a:ext>
              </a:extLst>
            </p:cNvPr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48;p40">
              <a:extLst>
                <a:ext uri="{FF2B5EF4-FFF2-40B4-BE49-F238E27FC236}">
                  <a16:creationId xmlns:a16="http://schemas.microsoft.com/office/drawing/2014/main" id="{CC6ED06C-97E6-48AB-E9A5-1D80DD743E7B}"/>
                </a:ext>
              </a:extLst>
            </p:cNvPr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49;p40">
              <a:extLst>
                <a:ext uri="{FF2B5EF4-FFF2-40B4-BE49-F238E27FC236}">
                  <a16:creationId xmlns:a16="http://schemas.microsoft.com/office/drawing/2014/main" id="{2820FE41-EED0-281E-DD24-13E298BB539A}"/>
                </a:ext>
              </a:extLst>
            </p:cNvPr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" name="Google Shape;50;p40">
            <a:extLst>
              <a:ext uri="{FF2B5EF4-FFF2-40B4-BE49-F238E27FC236}">
                <a16:creationId xmlns:a16="http://schemas.microsoft.com/office/drawing/2014/main" id="{0CE85B7A-8B69-DC97-F849-280347C23F9A}"/>
              </a:ext>
            </a:extLst>
          </p:cNvPr>
          <p:cNvSpPr txBox="1"/>
          <p:nvPr userDrawn="1"/>
        </p:nvSpPr>
        <p:spPr>
          <a:xfrm rot="-5400000">
            <a:off x="11250972" y="5290634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IN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1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3198933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64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A415120D-3668-49C1-AE11-A5139E17FB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4" t="3933" r="2214" b="3933"/>
          <a:stretch/>
        </p:blipFill>
        <p:spPr>
          <a:xfrm>
            <a:off x="269998" y="270000"/>
            <a:ext cx="11652001" cy="631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BE857BB-5DDF-4AEA-8F22-D5F9820E5C07}"/>
              </a:ext>
            </a:extLst>
          </p:cNvPr>
          <p:cNvSpPr/>
          <p:nvPr userDrawn="1"/>
        </p:nvSpPr>
        <p:spPr>
          <a:xfrm>
            <a:off x="536449" y="540000"/>
            <a:ext cx="6363891" cy="631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6B2B309-DF2B-9D8F-69F9-E990D37D8E9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1261" y="622237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4A727BF-EF41-4850-A868-11C0325A6C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6" y="3066686"/>
            <a:ext cx="5337943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6" y="4348579"/>
            <a:ext cx="5337943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354088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28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7" t="8006" r="4517" b="8006"/>
          <a:stretch/>
        </p:blipFill>
        <p:spPr>
          <a:xfrm>
            <a:off x="550861" y="549275"/>
            <a:ext cx="11090276" cy="575945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A92DE9B-D3C3-4D9E-909D-59D0ACABEB18}"/>
              </a:ext>
            </a:extLst>
          </p:cNvPr>
          <p:cNvSpPr/>
          <p:nvPr userDrawn="1"/>
        </p:nvSpPr>
        <p:spPr>
          <a:xfrm>
            <a:off x="1083553" y="1080000"/>
            <a:ext cx="5816186" cy="577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50F7501-6EC7-1AC7-42E0-4E0B8DEC262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47078" y="1317829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C3BFC25-365A-4293-AFC3-06979C33ED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31950" y="5778001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1951" y="3610939"/>
            <a:ext cx="4799330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1951" y="4892832"/>
            <a:ext cx="4799330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6992053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923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5627" r="-1" b="6561"/>
          <a:stretch/>
        </p:blipFill>
        <p:spPr>
          <a:xfrm>
            <a:off x="0" y="1522048"/>
            <a:ext cx="12192000" cy="533595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0"/>
            <a:ext cx="6363291" cy="630872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39000">
                <a:schemeClr val="tx2">
                  <a:lumMod val="75000"/>
                  <a:alpha val="95000"/>
                </a:schemeClr>
              </a:gs>
              <a:gs pos="7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683BD48-CFDF-B684-1DAD-50E88FF5A58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0382" y="148436"/>
            <a:ext cx="3231114" cy="1208188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14727E-8174-4A53-8CD1-66A25E0EEA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842431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61125876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 preserve="1">
  <p:cSld name="Breaker Slide_1">
    <p:bg>
      <p:bgPr>
        <a:solidFill>
          <a:schemeClr val="lt2"/>
        </a:solidFill>
        <a:effectLst/>
      </p:bgPr>
    </p:bg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FFEEBE7-590A-7C8C-78C2-DFD25580D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778059"/>
              </p:ext>
            </p:extLst>
          </p:nvPr>
        </p:nvGraphicFramePr>
        <p:xfrm>
          <a:off x="1440" y="1440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FFEEBE7-590A-7C8C-78C2-DFD25580D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40" y="1440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Google Shape;33;p40" descr="A picture containing graphical user interface&#10;&#10;Description automatically generated"/>
          <p:cNvPicPr preferRelativeResize="0"/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/>
          <a:stretch/>
        </p:blipFill>
        <p:spPr>
          <a:xfrm>
            <a:off x="1" y="-6562"/>
            <a:ext cx="12192000" cy="6864562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40"/>
          <p:cNvSpPr/>
          <p:nvPr/>
        </p:nvSpPr>
        <p:spPr>
          <a:xfrm>
            <a:off x="0" y="3853544"/>
            <a:ext cx="6240464" cy="2261507"/>
          </a:xfrm>
          <a:prstGeom prst="rect">
            <a:avLst/>
          </a:prstGeom>
          <a:gradFill>
            <a:gsLst>
              <a:gs pos="0">
                <a:srgbClr val="062379">
                  <a:alpha val="80000"/>
                </a:srgbClr>
              </a:gs>
              <a:gs pos="55000">
                <a:srgbClr val="385ED2">
                  <a:alpha val="80000"/>
                </a:srgbClr>
              </a:gs>
              <a:gs pos="76000">
                <a:srgbClr val="4873F5">
                  <a:alpha val="80000"/>
                </a:srgbClr>
              </a:gs>
              <a:gs pos="100000">
                <a:srgbClr val="43E1D3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40"/>
          <p:cNvSpPr txBox="1">
            <a:spLocks noGrp="1"/>
          </p:cNvSpPr>
          <p:nvPr>
            <p:ph type="title"/>
          </p:nvPr>
        </p:nvSpPr>
        <p:spPr>
          <a:xfrm>
            <a:off x="589046" y="4638134"/>
            <a:ext cx="5400674" cy="692323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4999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grpSp>
        <p:nvGrpSpPr>
          <p:cNvPr id="36" name="Google Shape;36;p40"/>
          <p:cNvGrpSpPr/>
          <p:nvPr/>
        </p:nvGrpSpPr>
        <p:grpSpPr>
          <a:xfrm>
            <a:off x="11998460" y="6162190"/>
            <a:ext cx="68500" cy="441924"/>
            <a:chOff x="11998459" y="6162188"/>
            <a:chExt cx="68500" cy="441925"/>
          </a:xfrm>
        </p:grpSpPr>
        <p:sp>
          <p:nvSpPr>
            <p:cNvPr id="37" name="Google Shape;37;p40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8;p40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9;p40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40;p40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41;p40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42;p40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43;p40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44;p40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45;p40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46;p40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40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48;p40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49;p40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" name="Google Shape;50;p40"/>
          <p:cNvSpPr txBox="1"/>
          <p:nvPr/>
        </p:nvSpPr>
        <p:spPr>
          <a:xfrm rot="-5400000">
            <a:off x="11250972" y="5290634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IN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1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51;p40"/>
          <p:cNvSpPr txBox="1">
            <a:spLocks noGrp="1"/>
          </p:cNvSpPr>
          <p:nvPr>
            <p:ph type="sldNum" idx="12"/>
          </p:nvPr>
        </p:nvSpPr>
        <p:spPr>
          <a:xfrm>
            <a:off x="11490154" y="6465614"/>
            <a:ext cx="150682" cy="1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3055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v="urn:schemas-microsoft-com:vml" xmlns:pvml="urn:schemas-microsoft-com:office:powerpoint" xmlns:p15="http://schemas.microsoft.com/office/powerpoint/2012/main" xmlns:o="urn:schemas-microsoft-com:office:office" xmlns:mv="urn:schemas-microsoft-com:mac:vml" xmlns:dgm="http://schemas.openxmlformats.org/drawingml/2006/diagram" xmlns:com="http://schemas.openxmlformats.org/drawingml/2006/compatibility" xmlns:c="http://schemas.openxmlformats.org/drawingml/2006/chart" xmlns:ahyp="http://schemas.microsoft.com/office/drawing/2018/hyperlinkcolor"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215EE13-6A4D-48C2-A4B1-30DA07094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560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215EE13-6A4D-48C2-A4B1-30DA07094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863ADCA1-24FF-455B-8752-270197618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2229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latin typeface="Franklin Gothic Demi" panose="020B070302010202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7DA5DEC-E51B-46CB-9299-8778528682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1814" y="1028324"/>
            <a:ext cx="11089972" cy="292388"/>
          </a:xfrm>
        </p:spPr>
        <p:txBody>
          <a:bodyPr>
            <a:spAutoFit/>
          </a:bodyPr>
          <a:lstStyle>
            <a:lvl1pPr>
              <a:defRPr sz="2000">
                <a:solidFill>
                  <a:schemeClr val="tx2">
                    <a:lumMod val="60000"/>
                    <a:lumOff val="40000"/>
                  </a:schemeClr>
                </a:solidFill>
                <a:latin typeface="Franklin Gothic Book" panose="020B050302010202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1CD3974-176A-43B6-8E60-33BCD19BBC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742863245"/>
      </p:ext>
    </p:extLst>
  </p:cSld>
  <p:clrMapOvr>
    <a:masterClrMapping/>
  </p:clrMapOvr>
  <p:hf hd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365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188F3D-7189-4E9E-89E6-895DD2D93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0313986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ith backgroun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261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5A3ACF9-E695-4094-9A16-A4F48EC9FF1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7D7FE3-E237-42E3-89BE-6BCC588B6C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90827061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785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4C70F-8641-4AD5-A3F6-0EBA9C54EA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3EF22FF7-C1AC-4F2A-9E98-236284660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4D4977A-6637-4106-96DA-BDAAC2518559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74D7535-DD55-4BCD-A913-9F98A80E2AAD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25BE1D1D-5C46-42D6-AA46-FD5902FDE024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A7F7D663-CB75-456D-911A-BD2A8F59B130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97E6936-7A47-4E85-B003-37AE13A73F22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B6F6AB7C-E8B0-4611-A905-F86C05FEC940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504CE7F7-478B-4DFB-A021-80071B529493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522A9F9-C26A-4B72-93CD-9528636133FE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D674410-4755-485D-BEA6-A9EE31599080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52F1A2D-9FF5-49A3-B11A-A842CB94EEE7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7660309-3ECC-487F-9D6C-08DE732EEA92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29373EC6-22EE-4AE8-A986-A3662C2AF607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EF08C567-10B3-494B-8347-38E808F75B2A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107EA0CD-BF40-4B85-88B1-06D5221EA25F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580E308-C62A-4BCD-993B-AFE1C3E57E94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836F53DC-0C00-4681-ADA4-58AABB9FD0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40" name="Copyright">
              <a:extLst>
                <a:ext uri="{FF2B5EF4-FFF2-40B4-BE49-F238E27FC236}">
                  <a16:creationId xmlns:a16="http://schemas.microsoft.com/office/drawing/2014/main" id="{36107045-99BA-4480-99BA-1F7D50690723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0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3699791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623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88B1CBF-9B2F-4725-98BB-E3D2571154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2175804"/>
            <a:ext cx="54006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857376"/>
            <a:ext cx="5400675" cy="263149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4" y="2175804"/>
            <a:ext cx="54006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464" y="1857376"/>
            <a:ext cx="5400675" cy="263149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56E97DD-069F-4133-A109-0593CB969E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8525076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8172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2476173-BEA2-49BD-B5FE-C9602A2A7D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5" y="2175804"/>
            <a:ext cx="3506976" cy="1177245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 smtClean="0"/>
            </a:lvl2pPr>
            <a:lvl3pPr marL="179388" indent="0">
              <a:buNone/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857376"/>
            <a:ext cx="35069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35839" y="2175804"/>
            <a:ext cx="35053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35839" y="1857376"/>
            <a:ext cx="35053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59121794-F5DD-4A31-9CFD-38DDBBCF1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44162" y="2175804"/>
            <a:ext cx="35053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3143DD43-CBE6-4068-87AB-C994C18915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4162" y="1857376"/>
            <a:ext cx="35053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9CDC1BE-F1D3-4AAB-9527-98835405BA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00756924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8172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2476173-BEA2-49BD-B5FE-C9602A2A7D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5" y="2175804"/>
            <a:ext cx="3506976" cy="1177245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 smtClean="0"/>
            </a:lvl2pPr>
            <a:lvl3pPr marL="179388" indent="0">
              <a:buNone/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857376"/>
            <a:ext cx="35069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35839" y="2175804"/>
            <a:ext cx="35053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35839" y="1857376"/>
            <a:ext cx="35053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59121794-F5DD-4A31-9CFD-38DDBBCF1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44162" y="2175804"/>
            <a:ext cx="35053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3143DD43-CBE6-4068-87AB-C994C18915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4162" y="1857376"/>
            <a:ext cx="35053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9CDC1BE-F1D3-4AAB-9527-98835405BA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15246483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911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14B796-0A71-42E1-B6EB-B6B2B79412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4" y="2175804"/>
            <a:ext cx="2559476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857376"/>
            <a:ext cx="25594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4" y="2175804"/>
            <a:ext cx="25548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464" y="1857376"/>
            <a:ext cx="2554875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475C8AB-1FCD-402F-8C3E-9BA6CE42B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4" y="2175804"/>
            <a:ext cx="2559476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35FA198-8A13-4A8F-B4EE-49845B8E8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5664" y="1857376"/>
            <a:ext cx="25594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6ACE083-C86D-45ED-8C11-019550696D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86263" y="2175804"/>
            <a:ext cx="25548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29247DB4-9C96-4895-AABD-422C522A97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6263" y="1857376"/>
            <a:ext cx="2554875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0B9447C-186B-4C6F-929F-503046B2C3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5197618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3416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F80F200-6A77-426D-879D-7C93BD8B9F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5" y="2175804"/>
            <a:ext cx="19836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857376"/>
            <a:ext cx="19836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4050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4050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475C8AB-1FCD-402F-8C3E-9BA6CE42B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27458" y="2175804"/>
            <a:ext cx="19836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35FA198-8A13-4A8F-B4EE-49845B8E8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27458" y="1857376"/>
            <a:ext cx="19836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6ACE083-C86D-45ED-8C11-019550696D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80643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29247DB4-9C96-4895-AABD-422C522A97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80643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ADA6637A-F017-4396-B239-B80ED2F97B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60801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7B295F18-5030-4811-B6C7-29EE7444BC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60801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E372659-0669-485A-8EB1-D45CE8B0F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9481152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Grey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769024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1C34F18-9238-4944-9751-DBBFCD9E3C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039D39E-8FE8-4C3F-AE18-8C3DCD3BA4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E004E42-DB15-49F0-9906-81D60B6E8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3235117" cy="837152"/>
          </a:xfrm>
        </p:spPr>
        <p:txBody>
          <a:bodyPr>
            <a:sp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8091627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925261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C7BEB73-A27D-4B04-A133-510ECB47E91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727F30D-9242-4A88-9322-2EDE74F75B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1BEDEA-6CDE-421B-87A1-0632A5F947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3135726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1791291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Lef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517025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8FBABF1-7718-43F6-B247-8269F95D22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5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8429EF-F441-3040-BB9E-07E66E2B2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142" y="2546064"/>
            <a:ext cx="3032465" cy="176586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45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E6F1C9-C479-4E50-B466-BBB81EB0E1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72796823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Blu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57473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AAE3F72-88DF-4B4D-99C2-2DFE1EFB16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6098537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7F38A5-E451-48CD-9B09-4D22AB98C6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923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2586D8-6C60-41B6-B276-7BF701FEA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5163309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0888806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882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148355-9A23-4C82-8F0E-F21594843C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1F99190-1A65-41A8-BBA7-98BD441A8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50D61507-3612-4ECE-96B7-0F9C15D342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CE9086E-00AC-4525-B7C4-F51B01FEA197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F2864F8-CE03-42D9-A1C6-49C13A90928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DDB86A9-D96F-4924-9B1A-50C360C15742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86074501-3762-407F-A74D-3799FEAFBD37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3D29F00-385D-4638-BD08-A8B98A323401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E2A3DD6C-1362-40F5-A7B3-2E963C5D94FF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6616E241-6E09-4071-B657-CE4E7BB5CD37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6A9939C2-C1A3-49F7-A69F-F2E83814F06B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C6484D2-FDEB-453B-ACAB-605BDF0437F1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E626162E-D8C5-4F77-A6A1-E2B6C7CABFC3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6446D18-F2A6-4A1D-9193-2C1738C1053D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6A74D8F-C94B-4FE0-9FED-86918ACD7711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FE130351-367D-46DC-AEF2-11BF681D6F21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1295B187-375A-4BC1-8930-8B6FB7B25415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987C9E7-CE53-4EC9-8C60-48477925BADC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9" name="Copyright">
              <a:extLst>
                <a:ext uri="{FF2B5EF4-FFF2-40B4-BE49-F238E27FC236}">
                  <a16:creationId xmlns:a16="http://schemas.microsoft.com/office/drawing/2014/main" id="{7F3EFBBF-8F6E-4F95-970D-289D95FB3EDE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9604271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G (with 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08331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148355-9A23-4C82-8F0E-F21594843C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C27F5F1-6E1A-43D9-B04D-DEEBA03354E7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3878A702-A86E-4356-99F5-6CC007B3A84C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75A2218-59DA-4B99-8DEE-5DF1044A636F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E8F166A-EB8B-4235-A114-5C9D062319D5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2FC6C6B-C81D-4FE7-9F3B-65F6B734168D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8EBE5-A780-49FB-9EAB-A8F48E23FAC5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ADB921C-741F-494D-9C24-2E06B3F237E1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2CBAA18-CC04-464C-B2DA-F60F1DFE63B3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7D25102-BF68-4480-830D-1A1BE174C734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EE8638F-0CD8-4C03-9847-FAF25CBB620A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481A8A-8F5D-40BC-B59F-D4CEF2254BB7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50965BC-1532-45A0-8F0A-37DAEC7BBE6F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C1AF2FC-06E9-481D-AAD4-A185594C60F4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1342B2-AEC9-4B66-9503-4CFC2ED0B897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41AC723-9EBC-48CA-B1C7-D2D5419421B0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4" name="Copyright">
            <a:extLst>
              <a:ext uri="{FF2B5EF4-FFF2-40B4-BE49-F238E27FC236}">
                <a16:creationId xmlns:a16="http://schemas.microsoft.com/office/drawing/2014/main" id="{2B7A128F-26DE-473C-95DA-CCAF4D373141}"/>
              </a:ext>
            </a:extLst>
          </p:cNvPr>
          <p:cNvSpPr txBox="1"/>
          <p:nvPr userDrawn="1"/>
        </p:nvSpPr>
        <p:spPr>
          <a:xfrm rot="16200000">
            <a:off x="11250972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. All rights reserved.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1F99190-1A65-41A8-BBA7-98BD441A8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50D61507-3612-4ECE-96B7-0F9C15D342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EDF673-966E-4DCD-9A9F-89CC749ED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18576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1163557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84101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E2B9A3-0AB0-4FA9-BE30-99B8A88EB1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8134763" y="-1"/>
            <a:ext cx="4059776" cy="6858001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454" y="6445295"/>
            <a:ext cx="15068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7BD8F9-1D4E-4291-8770-E69192472F2F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767490F9-4012-46F8-ABED-EB2AEB970D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BFAF012-FF52-4660-B1EB-E3DAD4E5D0D9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63A8AA3-AFD6-4F1D-95AB-D3C5F7E6A748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81A09B8-B6D7-496D-AC8E-E2CC99E1F047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77B1E538-1876-4C5E-8612-52D93329CC93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BEB775BB-2E5F-4B32-9B48-8DE1DD506FB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DF313EF-4694-4121-BF30-C1139E1F9D1C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F3BB4C7-5441-4DAF-B428-07833129A3C4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ADF2282-0F9C-41BD-8919-3F118F7AFA19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07EBF3C-B087-4F18-8637-DB3F73785049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FE95DEE8-DE4E-456F-B56B-0D9C34409112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34E317DF-5709-4B5E-A764-DBE2AC16DCAC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ABAA8A11-8055-4872-829E-9B4ACFB0448C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F3D0752F-4BE1-4DEA-9A91-C12628B9D905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27F6B00-C84C-430B-B7C2-DFB7384C7332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C86C1E6A-A2B0-4B52-82F6-EA7C2BB679FC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7" name="Copyright">
              <a:extLst>
                <a:ext uri="{FF2B5EF4-FFF2-40B4-BE49-F238E27FC236}">
                  <a16:creationId xmlns:a16="http://schemas.microsoft.com/office/drawing/2014/main" id="{6F9ADEBF-B227-47BA-9FFB-3881EE358DB3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D6CAC9C2-9DC0-4151-8814-3516E0ADB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7061683" cy="42229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281382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911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14B796-0A71-42E1-B6EB-B6B2B79412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4" y="2175804"/>
            <a:ext cx="2559476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857376"/>
            <a:ext cx="25594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4" y="2175804"/>
            <a:ext cx="25548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464" y="1857376"/>
            <a:ext cx="2554875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475C8AB-1FCD-402F-8C3E-9BA6CE42B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4" y="2175804"/>
            <a:ext cx="2559476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35FA198-8A13-4A8F-B4EE-49845B8E8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5664" y="1857376"/>
            <a:ext cx="25594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6ACE083-C86D-45ED-8C11-019550696D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86263" y="2175804"/>
            <a:ext cx="25548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29247DB4-9C96-4895-AABD-422C522A97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6263" y="1857376"/>
            <a:ext cx="2554875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0B9447C-186B-4C6F-929F-503046B2C3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95016424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Blu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811140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C2C367-8056-426B-81B2-4B2C7238E5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6096000" y="-1"/>
            <a:ext cx="6098539" cy="6858001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454" y="6445295"/>
            <a:ext cx="15068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8C5468B-3210-455B-960F-ACC92937B434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D9F423ED-15C9-4DBA-A5CC-A74A55A44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623CBF1-457C-4491-90EE-6DE3BD9C2B8C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C5D61D5-4D53-4B2F-830C-7C2D09806F8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1E4918B8-A176-47C4-9264-39A91C78CD7E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3201241E-6654-4B58-A757-746A35947F4F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AC0D2E0D-CECA-462E-BAF3-CF92D72544E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A50CAD15-5BF3-4472-BDB9-3E3E4742DD64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C3511C1-3179-44B4-BB52-D2B10DA8A6E2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7DD1BCC-9230-417B-A5CC-E1D3F6F61041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7A77373-FE9B-46C2-BEB4-F8B0A94BD53E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CB8ABB54-E991-461F-9791-D895B90E6700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773B4D2-2297-4AFE-A952-85F190728CC5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E052044D-7360-4930-ACEF-75B0996C9E40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78EE721A-1842-4613-97C0-83F42E192EFE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E04EC6AA-4D0D-4D6B-A317-D59028CD1190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33B47ABB-E212-4C3A-93F4-8ECF298B2F14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8" name="Copyright">
              <a:extLst>
                <a:ext uri="{FF2B5EF4-FFF2-40B4-BE49-F238E27FC236}">
                  <a16:creationId xmlns:a16="http://schemas.microsoft.com/office/drawing/2014/main" id="{63A391B4-F2D4-4CEA-BB2D-6FE9C17F564E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93E1D190-1D55-4D58-B05F-8B0C78FE1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5123552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6863534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er Slide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38369F-F8B4-42F9-9E33-ED43D3902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811257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38369F-F8B4-42F9-9E33-ED43D3902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6F88BD-D39D-4B55-A16B-68F5F7E3D6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9A2C76-32EA-4992-A965-D9260A5D160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82E60DA-1F02-9A45-8CE9-6CC78A3380F0}"/>
              </a:ext>
            </a:extLst>
          </p:cNvPr>
          <p:cNvSpPr/>
          <p:nvPr userDrawn="1"/>
        </p:nvSpPr>
        <p:spPr>
          <a:xfrm>
            <a:off x="1" y="0"/>
            <a:ext cx="2682587" cy="6858000"/>
          </a:xfrm>
          <a:prstGeom prst="rect">
            <a:avLst/>
          </a:prstGeom>
          <a:solidFill>
            <a:schemeClr val="bg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93BD1C-9237-8249-950A-62A7C86034D0}"/>
              </a:ext>
            </a:extLst>
          </p:cNvPr>
          <p:cNvSpPr/>
          <p:nvPr userDrawn="1"/>
        </p:nvSpPr>
        <p:spPr>
          <a:xfrm>
            <a:off x="1" y="3700464"/>
            <a:ext cx="9412014" cy="241458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410CA7A-4558-C443-9C75-2C8E863B7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592" y="4108436"/>
            <a:ext cx="8494899" cy="1569660"/>
          </a:xfrm>
          <a:effectLst>
            <a:outerShdw blurRad="1905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80000"/>
              </a:lnSpc>
              <a:defRPr lang="en-US" sz="60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A4D7170-2B51-4AFC-B047-0F5B3A69E471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DD1615D-0D55-4B48-87A2-0F30A4E3D8E7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C8D3D7F-D19B-49DE-9CB3-221A0639516B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30BC6AD-EFFB-4263-A0EB-5A8265D4385C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341753F-E8F7-47E2-8A08-516073C6B573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3E2B82A-AA52-459B-A885-2C9E46A7CA08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DCD4539-FE2A-4741-BBEF-2BADE6F5B99D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3FB79E5-53C4-46E5-AAF3-BCDBDA5A2D1D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09CEBDE-5D0C-41B5-85C2-CBC9DA810EFB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887E364-69C8-42A1-811A-4726514CBCE3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8A0E0BB-B67F-4B6F-A66E-3D42CC14F9E7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97C39D0-A99F-467C-9FAD-1FEC939449C9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B512C9A-2B27-4460-B3C8-AA6460E8DA65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A1FA1F5-B76B-4B98-99DC-DD1D17B7F23E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7" name="Copyright">
            <a:extLst>
              <a:ext uri="{FF2B5EF4-FFF2-40B4-BE49-F238E27FC236}">
                <a16:creationId xmlns:a16="http://schemas.microsoft.com/office/drawing/2014/main" id="{EB60B0AE-F9C0-4FBF-9FE6-F8CE2ED57C40}"/>
              </a:ext>
            </a:extLst>
          </p:cNvPr>
          <p:cNvSpPr txBox="1"/>
          <p:nvPr userDrawn="1"/>
        </p:nvSpPr>
        <p:spPr>
          <a:xfrm rot="16200000">
            <a:off x="11250972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. All rights reserved.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B037CC6-E5CE-4CBE-B183-A4AF78E15E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50820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_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38369F-F8B4-42F9-9E33-ED43D3902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57384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38369F-F8B4-42F9-9E33-ED43D3902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6F88BD-D39D-4B55-A16B-68F5F7E3D6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E076F7-2F5B-46F9-A7D4-BCD4A1BF4FB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grayscl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5571307-B5A1-49FA-8B2A-10157FD7593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55000">
                <a:schemeClr val="tx2">
                  <a:lumMod val="75000"/>
                  <a:alpha val="90000"/>
                </a:schemeClr>
              </a:gs>
              <a:gs pos="85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410CA7A-4558-C443-9C75-2C8E863B7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effectLst>
            <a:outerShdw blurRad="1905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80000"/>
              </a:lnSpc>
              <a:defRPr lang="en-US" sz="60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B037CC6-E5CE-4CBE-B183-A4AF78E15E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B1B01B0-505C-4864-BC9B-FBCE18D02D9C}"/>
              </a:ext>
            </a:extLst>
          </p:cNvPr>
          <p:cNvCxnSpPr>
            <a:cxnSpLocks/>
          </p:cNvCxnSpPr>
          <p:nvPr userDrawn="1"/>
        </p:nvCxnSpPr>
        <p:spPr>
          <a:xfrm>
            <a:off x="992389" y="5712304"/>
            <a:ext cx="154246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5DDDC21-5EC0-4BC6-A759-2D861F3A42C0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6CE34071-C191-4EA0-879B-938D0D7FB2DC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86C589D3-2A68-47B4-A186-DCD2A83FCFC8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BB41610-46EC-428B-835A-19794F87B288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335B418E-1CF7-49D6-9410-F4E0F9CA8FD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75874F1C-8BBD-43D9-9576-2326771CDA5E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41BF7ED0-D40C-414C-A361-03E0EC0CA1B8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0A1FE6F-2C49-4E56-BBB6-F7F2308FE7A5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8FE97711-BCB1-4A87-B444-FE49A24C954C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C90751F-BC28-4C38-9AEE-4FE522001DE3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4759EB0F-4722-48F9-98B5-35600B2F5F54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1E9ED425-DEE8-4FE5-B40D-E5D7FC3B173C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6FED47B5-7813-41FF-82AD-062C1EBA79EB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3412D8B3-B39C-4308-9921-278312CC9BDA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279E12B4-9493-4742-A8EB-9E495955EF01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34" name="Copyright">
              <a:extLst>
                <a:ext uri="{FF2B5EF4-FFF2-40B4-BE49-F238E27FC236}">
                  <a16:creationId xmlns:a16="http://schemas.microsoft.com/office/drawing/2014/main" id="{063EE5AF-0F23-4E4D-946B-2EF723C73A98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57403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02073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3E76732-5A5F-B03D-320E-52CD6F1CBCF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43457" y="2592164"/>
            <a:ext cx="4386551" cy="164023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106A152-DC8B-0C47-8CFD-D99759D28F81}"/>
              </a:ext>
            </a:extLst>
          </p:cNvPr>
          <p:cNvSpPr txBox="1"/>
          <p:nvPr userDrawn="1"/>
        </p:nvSpPr>
        <p:spPr>
          <a:xfrm>
            <a:off x="550863" y="5965461"/>
            <a:ext cx="302948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1" i="0" u="none" dirty="0">
                <a:solidFill>
                  <a:schemeClr val="accent3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  <a:sym typeface="Calibri" panose="020F0502020204030204" pitchFamily="34" charset="0"/>
              </a:rPr>
              <a:t>www.infomineo.com</a:t>
            </a:r>
          </a:p>
          <a:p>
            <a:pPr algn="l"/>
            <a:r>
              <a:rPr lang="en-GB" sz="1200" b="0" i="0" dirty="0">
                <a:solidFill>
                  <a:schemeClr val="bg1"/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  <a:sym typeface="Calibri" panose="020F0502020204030204" pitchFamily="34" charset="0"/>
              </a:rPr>
              <a:t>Infomineo Copyright © 2023. All rights reserved.</a:t>
            </a:r>
          </a:p>
        </p:txBody>
      </p:sp>
      <p:pic>
        <p:nvPicPr>
          <p:cNvPr id="30" name="Picture 29">
            <a:hlinkClick r:id="rId7"/>
            <a:extLst>
              <a:ext uri="{FF2B5EF4-FFF2-40B4-BE49-F238E27FC236}">
                <a16:creationId xmlns:a16="http://schemas.microsoft.com/office/drawing/2014/main" id="{3ED467EF-C028-4376-B7C8-A8830D77CF7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3329" y="5965461"/>
            <a:ext cx="370332" cy="370332"/>
          </a:xfrm>
          <a:prstGeom prst="rect">
            <a:avLst/>
          </a:prstGeom>
        </p:spPr>
      </p:pic>
      <p:pic>
        <p:nvPicPr>
          <p:cNvPr id="32" name="Picture 31">
            <a:hlinkClick r:id="rId9"/>
            <a:extLst>
              <a:ext uri="{FF2B5EF4-FFF2-40B4-BE49-F238E27FC236}">
                <a16:creationId xmlns:a16="http://schemas.microsoft.com/office/drawing/2014/main" id="{3BF2889F-2FC0-49EE-9DAD-8868FC3BE52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965" y="5965461"/>
            <a:ext cx="368808" cy="370332"/>
          </a:xfrm>
          <a:prstGeom prst="rect">
            <a:avLst/>
          </a:prstGeom>
        </p:spPr>
      </p:pic>
      <p:pic>
        <p:nvPicPr>
          <p:cNvPr id="34" name="Picture 33">
            <a:hlinkClick r:id="rId11"/>
            <a:extLst>
              <a:ext uri="{FF2B5EF4-FFF2-40B4-BE49-F238E27FC236}">
                <a16:creationId xmlns:a16="http://schemas.microsoft.com/office/drawing/2014/main" id="{96507CF0-D683-43B8-9352-634205E2EC2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8600" y="5965461"/>
            <a:ext cx="368808" cy="37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90610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>
            <a:extLst>
              <a:ext uri="{FF2B5EF4-FFF2-40B4-BE49-F238E27FC236}">
                <a16:creationId xmlns:a16="http://schemas.microsoft.com/office/drawing/2014/main" id="{C7E8C095-69F2-4BC8-964E-A1BFE9309E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833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9" name="Object 48" hidden="1">
                        <a:extLst>
                          <a:ext uri="{FF2B5EF4-FFF2-40B4-BE49-F238E27FC236}">
                            <a16:creationId xmlns:a16="http://schemas.microsoft.com/office/drawing/2014/main" id="{C7E8C095-69F2-4BC8-964E-A1BFE9309E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5F11C0-1445-4182-AF87-C63E0DB6C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7" name="Freeform: Shape 95">
            <a:extLst>
              <a:ext uri="{FF2B5EF4-FFF2-40B4-BE49-F238E27FC236}">
                <a16:creationId xmlns:a16="http://schemas.microsoft.com/office/drawing/2014/main" id="{E5A08834-247C-4C9E-93E7-8514C051C060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566584 w 12193200"/>
              <a:gd name="connsiteY0" fmla="*/ 549276 h 6858000"/>
              <a:gd name="connsiteX1" fmla="*/ 566584 w 12193200"/>
              <a:gd name="connsiteY1" fmla="*/ 6308726 h 6858000"/>
              <a:gd name="connsiteX2" fmla="*/ 11641138 w 12193200"/>
              <a:gd name="connsiteY2" fmla="*/ 6308726 h 6858000"/>
              <a:gd name="connsiteX3" fmla="*/ 11641138 w 12193200"/>
              <a:gd name="connsiteY3" fmla="*/ 549276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22800 h 6858000"/>
              <a:gd name="connsiteX7" fmla="*/ 12192000 w 12193200"/>
              <a:gd name="connsiteY7" fmla="*/ 622800 h 6858000"/>
              <a:gd name="connsiteX8" fmla="*/ 12192000 w 12193200"/>
              <a:gd name="connsiteY8" fmla="*/ 6160597 h 6858000"/>
              <a:gd name="connsiteX9" fmla="*/ 12193200 w 12193200"/>
              <a:gd name="connsiteY9" fmla="*/ 6160597 h 6858000"/>
              <a:gd name="connsiteX10" fmla="*/ 12193200 w 12193200"/>
              <a:gd name="connsiteY10" fmla="*/ 6858000 h 6858000"/>
              <a:gd name="connsiteX11" fmla="*/ 12192000 w 12193200"/>
              <a:gd name="connsiteY11" fmla="*/ 6858000 h 6858000"/>
              <a:gd name="connsiteX12" fmla="*/ 11562000 w 12193200"/>
              <a:gd name="connsiteY12" fmla="*/ 6858000 h 6858000"/>
              <a:gd name="connsiteX13" fmla="*/ 630001 w 12193200"/>
              <a:gd name="connsiteY13" fmla="*/ 6858000 h 6858000"/>
              <a:gd name="connsiteX14" fmla="*/ 1 w 12193200"/>
              <a:gd name="connsiteY14" fmla="*/ 6858000 h 6858000"/>
              <a:gd name="connsiteX15" fmla="*/ 1 w 12193200"/>
              <a:gd name="connsiteY15" fmla="*/ 6160597 h 6858000"/>
              <a:gd name="connsiteX16" fmla="*/ 1 w 12193200"/>
              <a:gd name="connsiteY16" fmla="*/ 622800 h 6858000"/>
              <a:gd name="connsiteX17" fmla="*/ 0 w 12193200"/>
              <a:gd name="connsiteY17" fmla="*/ 622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3200" h="685800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5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59B0D14-7DD8-45E2-B968-99300FF0D28D}"/>
              </a:ext>
            </a:extLst>
          </p:cNvPr>
          <p:cNvGrpSpPr/>
          <p:nvPr userDrawn="1"/>
        </p:nvGrpSpPr>
        <p:grpSpPr>
          <a:xfrm>
            <a:off x="-600" y="549275"/>
            <a:ext cx="12193200" cy="5759450"/>
            <a:chOff x="-600" y="549275"/>
            <a:chExt cx="12193200" cy="5759450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FD9771C-C32F-443B-97DA-AB808B787FCB}"/>
                </a:ext>
              </a:extLst>
            </p:cNvPr>
            <p:cNvCxnSpPr/>
            <p:nvPr/>
          </p:nvCxnSpPr>
          <p:spPr>
            <a:xfrm>
              <a:off x="-600" y="54927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ACFDCFA-8871-4375-9DD7-4FC5886280A9}"/>
                </a:ext>
              </a:extLst>
            </p:cNvPr>
            <p:cNvCxnSpPr/>
            <p:nvPr/>
          </p:nvCxnSpPr>
          <p:spPr>
            <a:xfrm>
              <a:off x="-600" y="1072861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BCC4B7F-FEF1-4EA1-831D-C9AA6F5F064E}"/>
                </a:ext>
              </a:extLst>
            </p:cNvPr>
            <p:cNvCxnSpPr/>
            <p:nvPr/>
          </p:nvCxnSpPr>
          <p:spPr>
            <a:xfrm>
              <a:off x="-600" y="1334654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81DCA16-8F73-4630-BDD0-2A70C4A58AB4}"/>
                </a:ext>
              </a:extLst>
            </p:cNvPr>
            <p:cNvCxnSpPr/>
            <p:nvPr/>
          </p:nvCxnSpPr>
          <p:spPr>
            <a:xfrm>
              <a:off x="-600" y="1596447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BC31EB1-B3A4-46CF-BFA4-063B67EE1C0D}"/>
                </a:ext>
              </a:extLst>
            </p:cNvPr>
            <p:cNvCxnSpPr/>
            <p:nvPr/>
          </p:nvCxnSpPr>
          <p:spPr>
            <a:xfrm>
              <a:off x="-600" y="1858240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93E6A85-DDE0-4463-B476-9FA784357023}"/>
                </a:ext>
              </a:extLst>
            </p:cNvPr>
            <p:cNvCxnSpPr/>
            <p:nvPr/>
          </p:nvCxnSpPr>
          <p:spPr>
            <a:xfrm>
              <a:off x="-600" y="2120033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A4D7F3C-5BD5-4AC2-88A1-966E801F5AED}"/>
                </a:ext>
              </a:extLst>
            </p:cNvPr>
            <p:cNvCxnSpPr/>
            <p:nvPr/>
          </p:nvCxnSpPr>
          <p:spPr>
            <a:xfrm>
              <a:off x="-600" y="2381826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2775BB7-F520-4F81-AF6D-F59D1B76F55E}"/>
                </a:ext>
              </a:extLst>
            </p:cNvPr>
            <p:cNvCxnSpPr/>
            <p:nvPr/>
          </p:nvCxnSpPr>
          <p:spPr>
            <a:xfrm>
              <a:off x="-600" y="2643619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CB72474-2AC2-420E-BDB5-E5A722B50684}"/>
                </a:ext>
              </a:extLst>
            </p:cNvPr>
            <p:cNvCxnSpPr/>
            <p:nvPr/>
          </p:nvCxnSpPr>
          <p:spPr>
            <a:xfrm>
              <a:off x="-600" y="2905412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7F88338-30AC-49A0-A5C4-EC7BD34E1FA6}"/>
                </a:ext>
              </a:extLst>
            </p:cNvPr>
            <p:cNvCxnSpPr/>
            <p:nvPr/>
          </p:nvCxnSpPr>
          <p:spPr>
            <a:xfrm>
              <a:off x="-600" y="316720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A4A82DD-B8CC-462B-93E9-CBC87352521F}"/>
                </a:ext>
              </a:extLst>
            </p:cNvPr>
            <p:cNvCxnSpPr/>
            <p:nvPr/>
          </p:nvCxnSpPr>
          <p:spPr>
            <a:xfrm>
              <a:off x="-600" y="342899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086DFAD-90A1-4761-A1F6-2CECC9F3CEB8}"/>
                </a:ext>
              </a:extLst>
            </p:cNvPr>
            <p:cNvCxnSpPr/>
            <p:nvPr/>
          </p:nvCxnSpPr>
          <p:spPr>
            <a:xfrm>
              <a:off x="-600" y="3690791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A73AC16-3E18-48F7-97ED-8B5A48560A3B}"/>
                </a:ext>
              </a:extLst>
            </p:cNvPr>
            <p:cNvCxnSpPr/>
            <p:nvPr/>
          </p:nvCxnSpPr>
          <p:spPr>
            <a:xfrm>
              <a:off x="-600" y="3952584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32B4CC9-D426-40F8-825B-C7E1196189B4}"/>
                </a:ext>
              </a:extLst>
            </p:cNvPr>
            <p:cNvCxnSpPr/>
            <p:nvPr/>
          </p:nvCxnSpPr>
          <p:spPr>
            <a:xfrm>
              <a:off x="-600" y="4214377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9DD5A36E-8435-4B1C-8462-1C956794FC17}"/>
                </a:ext>
              </a:extLst>
            </p:cNvPr>
            <p:cNvCxnSpPr/>
            <p:nvPr/>
          </p:nvCxnSpPr>
          <p:spPr>
            <a:xfrm>
              <a:off x="-600" y="4476170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D85A532-653B-4FD3-A2B9-908071F117D2}"/>
                </a:ext>
              </a:extLst>
            </p:cNvPr>
            <p:cNvCxnSpPr/>
            <p:nvPr/>
          </p:nvCxnSpPr>
          <p:spPr>
            <a:xfrm>
              <a:off x="-600" y="4737963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CDE1136A-6637-439F-89A7-D7F878D15199}"/>
                </a:ext>
              </a:extLst>
            </p:cNvPr>
            <p:cNvCxnSpPr/>
            <p:nvPr/>
          </p:nvCxnSpPr>
          <p:spPr>
            <a:xfrm>
              <a:off x="-600" y="4999756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4A0A4627-9F33-480E-B584-D2625F29AB95}"/>
                </a:ext>
              </a:extLst>
            </p:cNvPr>
            <p:cNvCxnSpPr/>
            <p:nvPr/>
          </p:nvCxnSpPr>
          <p:spPr>
            <a:xfrm>
              <a:off x="-600" y="5261549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49037A92-0EC2-4FBA-A847-8D0F6C45AD99}"/>
                </a:ext>
              </a:extLst>
            </p:cNvPr>
            <p:cNvCxnSpPr/>
            <p:nvPr/>
          </p:nvCxnSpPr>
          <p:spPr>
            <a:xfrm>
              <a:off x="-600" y="5523342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6B45D501-68B8-4FBE-8794-3CDE530B5439}"/>
                </a:ext>
              </a:extLst>
            </p:cNvPr>
            <p:cNvCxnSpPr/>
            <p:nvPr userDrawn="1"/>
          </p:nvCxnSpPr>
          <p:spPr>
            <a:xfrm>
              <a:off x="-600" y="578513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C63DF98-DC31-4B0A-9A94-9B9C493BD0DD}"/>
                </a:ext>
              </a:extLst>
            </p:cNvPr>
            <p:cNvCxnSpPr/>
            <p:nvPr userDrawn="1"/>
          </p:nvCxnSpPr>
          <p:spPr>
            <a:xfrm>
              <a:off x="-600" y="81106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D97F595-E8CD-4823-A296-F9B434149D35}"/>
                </a:ext>
              </a:extLst>
            </p:cNvPr>
            <p:cNvCxnSpPr/>
            <p:nvPr userDrawn="1"/>
          </p:nvCxnSpPr>
          <p:spPr>
            <a:xfrm>
              <a:off x="-600" y="630872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67767E29-78AA-446B-8F14-50FFE81A75D5}"/>
                </a:ext>
              </a:extLst>
            </p:cNvPr>
            <p:cNvCxnSpPr/>
            <p:nvPr userDrawn="1"/>
          </p:nvCxnSpPr>
          <p:spPr>
            <a:xfrm>
              <a:off x="-600" y="604692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Footnote measure">
            <a:extLst>
              <a:ext uri="{FF2B5EF4-FFF2-40B4-BE49-F238E27FC236}">
                <a16:creationId xmlns:a16="http://schemas.microsoft.com/office/drawing/2014/main" id="{FCB67C59-94A5-43D0-98F3-D2DF706BE6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50264" y="6308722"/>
            <a:ext cx="11090873" cy="261799"/>
          </a:xfrm>
          <a:prstGeom prst="rect">
            <a:avLst/>
          </a:prstGeom>
          <a:solidFill>
            <a:srgbClr val="FF0000">
              <a:alpha val="1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Whitespace measure">
            <a:extLst>
              <a:ext uri="{FF2B5EF4-FFF2-40B4-BE49-F238E27FC236}">
                <a16:creationId xmlns:a16="http://schemas.microsoft.com/office/drawing/2014/main" id="{B9FA0CC8-4D85-4377-9762-D979C28385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50864" y="1348222"/>
            <a:ext cx="11105556" cy="509202"/>
          </a:xfrm>
          <a:prstGeom prst="rect">
            <a:avLst/>
          </a:prstGeom>
          <a:solidFill>
            <a:srgbClr val="FF0000">
              <a:alpha val="5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Live area">
            <a:extLst>
              <a:ext uri="{FF2B5EF4-FFF2-40B4-BE49-F238E27FC236}">
                <a16:creationId xmlns:a16="http://schemas.microsoft.com/office/drawing/2014/main" id="{AA787823-C275-4031-9AC7-3513520EE759}"/>
              </a:ext>
            </a:extLst>
          </p:cNvPr>
          <p:cNvSpPr/>
          <p:nvPr userDrawn="1"/>
        </p:nvSpPr>
        <p:spPr>
          <a:xfrm>
            <a:off x="550864" y="2120034"/>
            <a:ext cx="11090275" cy="4188692"/>
          </a:xfrm>
          <a:custGeom>
            <a:avLst/>
            <a:gdLst>
              <a:gd name="connsiteX0" fmla="*/ 0 w 10931999"/>
              <a:gd name="connsiteY0" fmla="*/ 0 h 5537797"/>
              <a:gd name="connsiteX1" fmla="*/ 10931999 w 10931999"/>
              <a:gd name="connsiteY1" fmla="*/ 0 h 5537797"/>
              <a:gd name="connsiteX2" fmla="*/ 10931999 w 10931999"/>
              <a:gd name="connsiteY2" fmla="*/ 5537797 h 5537797"/>
              <a:gd name="connsiteX3" fmla="*/ 0 w 10931999"/>
              <a:gd name="connsiteY3" fmla="*/ 5537797 h 553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31999" h="5537797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>
            <a:solidFill>
              <a:schemeClr val="tx2">
                <a:alpha val="3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1AA03C-D537-4B50-8AA2-DE2B0859A9E0}"/>
              </a:ext>
            </a:extLst>
          </p:cNvPr>
          <p:cNvGrpSpPr/>
          <p:nvPr userDrawn="1"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  <a:solidFill>
            <a:schemeClr val="tx2">
              <a:lumMod val="40000"/>
              <a:lumOff val="60000"/>
              <a:alpha val="10000"/>
            </a:schemeClr>
          </a:solidFill>
        </p:grpSpPr>
        <p:sp>
          <p:nvSpPr>
            <p:cNvPr id="13" name="Rectangle 34">
              <a:extLst>
                <a:ext uri="{FF2B5EF4-FFF2-40B4-BE49-F238E27FC236}">
                  <a16:creationId xmlns:a16="http://schemas.microsoft.com/office/drawing/2014/main" id="{CEBF00D2-4B24-426D-BD4A-087B43FE3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Rectangle 35">
              <a:extLst>
                <a:ext uri="{FF2B5EF4-FFF2-40B4-BE49-F238E27FC236}">
                  <a16:creationId xmlns:a16="http://schemas.microsoft.com/office/drawing/2014/main" id="{6BD82B4A-4BB0-4614-B13C-4CFCC7A22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Rectangle 36">
              <a:extLst>
                <a:ext uri="{FF2B5EF4-FFF2-40B4-BE49-F238E27FC236}">
                  <a16:creationId xmlns:a16="http://schemas.microsoft.com/office/drawing/2014/main" id="{BF9ACD5F-BA8A-4218-BB75-6E90A13EF9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7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Rectangle 37">
              <a:extLst>
                <a:ext uri="{FF2B5EF4-FFF2-40B4-BE49-F238E27FC236}">
                  <a16:creationId xmlns:a16="http://schemas.microsoft.com/office/drawing/2014/main" id="{379A22D2-DA96-41ED-9D9E-1155426DFF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42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Rectangle 38">
              <a:extLst>
                <a:ext uri="{FF2B5EF4-FFF2-40B4-BE49-F238E27FC236}">
                  <a16:creationId xmlns:a16="http://schemas.microsoft.com/office/drawing/2014/main" id="{7EF7963D-A1E1-415D-8969-F027A75D12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Rectangle 39">
              <a:extLst>
                <a:ext uri="{FF2B5EF4-FFF2-40B4-BE49-F238E27FC236}">
                  <a16:creationId xmlns:a16="http://schemas.microsoft.com/office/drawing/2014/main" id="{BBE34D05-AF10-4FE9-A201-F9E2A8027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2839" y="549274"/>
              <a:ext cx="288000" cy="5759450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Rectangle 40">
              <a:extLst>
                <a:ext uri="{FF2B5EF4-FFF2-40B4-BE49-F238E27FC236}">
                  <a16:creationId xmlns:a16="http://schemas.microsoft.com/office/drawing/2014/main" id="{349BF860-A8A0-4AB9-B299-1AF824195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Rectangle 41">
              <a:extLst>
                <a:ext uri="{FF2B5EF4-FFF2-40B4-BE49-F238E27FC236}">
                  <a16:creationId xmlns:a16="http://schemas.microsoft.com/office/drawing/2014/main" id="{3E2A80A6-61F6-4E58-B43B-059CCD29C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2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Rectangle 42">
              <a:extLst>
                <a:ext uri="{FF2B5EF4-FFF2-40B4-BE49-F238E27FC236}">
                  <a16:creationId xmlns:a16="http://schemas.microsoft.com/office/drawing/2014/main" id="{0F927BDE-7613-4A1B-9405-C18A0AA02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Rectangle 43">
              <a:extLst>
                <a:ext uri="{FF2B5EF4-FFF2-40B4-BE49-F238E27FC236}">
                  <a16:creationId xmlns:a16="http://schemas.microsoft.com/office/drawing/2014/main" id="{9D0BF9DE-3D09-432F-B97F-D68AFE1C7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7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Rectangle 44">
              <a:extLst>
                <a:ext uri="{FF2B5EF4-FFF2-40B4-BE49-F238E27FC236}">
                  <a16:creationId xmlns:a16="http://schemas.microsoft.com/office/drawing/2014/main" id="{7807AD9B-3A59-4121-9F68-FB858FD6D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47" name="Footnote example">
            <a:extLst>
              <a:ext uri="{FF2B5EF4-FFF2-40B4-BE49-F238E27FC236}">
                <a16:creationId xmlns:a16="http://schemas.microsoft.com/office/drawing/2014/main" id="{DBF27226-1CAE-4EC3-B7C2-CD7BFF212B2F}"/>
              </a:ext>
            </a:extLst>
          </p:cNvPr>
          <p:cNvSpPr txBox="1"/>
          <p:nvPr userDrawn="1"/>
        </p:nvSpPr>
        <p:spPr>
          <a:xfrm>
            <a:off x="550863" y="6310249"/>
            <a:ext cx="9030915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Footnotes/Notes</a:t>
            </a:r>
          </a:p>
          <a:p>
            <a:pPr marL="0" marR="0" lvl="0" indent="0" algn="l" defTabSz="914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Source: Include a source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491C5D-1CCA-4AD2-960D-E2D2520D37E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490154" y="6450226"/>
            <a:ext cx="150682" cy="15388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2547BBBC-05CB-49BC-A9CC-2D869F0C1D2C}" type="slidenum">
              <a:rPr lang="en-IN" smtClean="0"/>
              <a:pPr/>
              <a:t>‹#›</a:t>
            </a:fld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A5092CC-99B7-42FA-B922-D9A469AA61A3}"/>
              </a:ext>
            </a:extLst>
          </p:cNvPr>
          <p:cNvGrpSpPr/>
          <p:nvPr userDrawn="1"/>
        </p:nvGrpSpPr>
        <p:grpSpPr>
          <a:xfrm>
            <a:off x="550864" y="6156604"/>
            <a:ext cx="11089971" cy="55199"/>
            <a:chOff x="550864" y="6156603"/>
            <a:chExt cx="11089971" cy="55199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7D78F6B-68EA-4677-8270-E6CE44B4A9DC}"/>
                </a:ext>
              </a:extLst>
            </p:cNvPr>
            <p:cNvSpPr/>
            <p:nvPr userDrawn="1"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6E6D155-C668-4620-947B-CD6756DB3E3F}"/>
                </a:ext>
              </a:extLst>
            </p:cNvPr>
            <p:cNvSpPr/>
            <p:nvPr userDrawn="1"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3A33606-AE46-4272-A076-D6F1DEF2BE14}"/>
                </a:ext>
              </a:extLst>
            </p:cNvPr>
            <p:cNvSpPr/>
            <p:nvPr userDrawn="1"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7AF00D4-2C2C-4B64-AC48-30E76E740B68}"/>
                </a:ext>
              </a:extLst>
            </p:cNvPr>
            <p:cNvSpPr/>
            <p:nvPr userDrawn="1"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53F07A3-100A-4285-8103-25EB4F518B92}"/>
                </a:ext>
              </a:extLst>
            </p:cNvPr>
            <p:cNvSpPr/>
            <p:nvPr userDrawn="1"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C3F2152-358B-4AF4-9E4C-FFC021458588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EE3E2D1-AA6B-4858-AEA5-CA4E153942A1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8F01DC23-2710-4E23-8ECF-D42A01049798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625F897C-F6DC-43F6-83A9-103566BB7B1A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297483D6-4F68-4046-9938-3975F46B128B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0260B8F-626E-4F6C-82D6-73BBB93D898A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C8041FBB-4E11-4186-939C-922BB885CE7F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B9D46F4-06A5-41BD-A370-19C37CA28B53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B4380E05-CB91-42D7-A593-68D7E79B69EF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D399139-04A8-4906-A0E9-F32ED37B1DB5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E2C3744-960D-4FE8-A425-0A1BCCBFDCE3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656CA51-5E36-4B65-AAB5-604B2FFF1CA6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BEF9EA6-DC0A-4745-950A-75EB35C11A83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C185182D-9507-4706-B5C3-7D60904B8C41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DC967172-2751-4E17-ACEB-B9AC16A1C8EE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B1C13260-A832-4897-8C2A-B004FA9AB5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59" name="Copyright">
              <a:extLst>
                <a:ext uri="{FF2B5EF4-FFF2-40B4-BE49-F238E27FC236}">
                  <a16:creationId xmlns:a16="http://schemas.microsoft.com/office/drawing/2014/main" id="{4E29D673-EFE2-4CE9-96D3-54B928054039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9679ACBB-550D-47A2-9ADD-A6C09F32A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9"/>
            <a:ext cx="11089972" cy="44318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IN"/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A9FA602-B0B9-4981-B1E1-9FFC8BD86320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923484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ue Layout" preserve="1">
  <p:cSld name="Blue Layou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8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2" tIns="45699" rIns="91422" bIns="45699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0" name="Google Shape;50;p83"/>
          <p:cNvGrpSpPr/>
          <p:nvPr/>
        </p:nvGrpSpPr>
        <p:grpSpPr>
          <a:xfrm>
            <a:off x="11998459" y="6162189"/>
            <a:ext cx="68500" cy="441925"/>
            <a:chOff x="11998459" y="6162188"/>
            <a:chExt cx="68500" cy="441925"/>
          </a:xfrm>
        </p:grpSpPr>
        <p:sp>
          <p:nvSpPr>
            <p:cNvPr id="51" name="Google Shape;51;p83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83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83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83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83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83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83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83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83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83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83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62;p83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63;p83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" name="Google Shape;64;p83"/>
          <p:cNvSpPr txBox="1"/>
          <p:nvPr/>
        </p:nvSpPr>
        <p:spPr>
          <a:xfrm rot="-5400000">
            <a:off x="11250972" y="5290632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0" dirty="0"/>
          </a:p>
        </p:txBody>
      </p:sp>
      <p:sp>
        <p:nvSpPr>
          <p:cNvPr id="65" name="Google Shape;65;p83"/>
          <p:cNvSpPr txBox="1">
            <a:spLocks noGrp="1"/>
          </p:cNvSpPr>
          <p:nvPr>
            <p:ph type="ftr" idx="11"/>
          </p:nvPr>
        </p:nvSpPr>
        <p:spPr>
          <a:xfrm>
            <a:off x="550863" y="6429937"/>
            <a:ext cx="955390" cy="1538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83"/>
          <p:cNvSpPr txBox="1">
            <a:spLocks noGrp="1"/>
          </p:cNvSpPr>
          <p:nvPr>
            <p:ph type="sldNum" idx="12"/>
          </p:nvPr>
        </p:nvSpPr>
        <p:spPr>
          <a:xfrm>
            <a:off x="11490154" y="6465614"/>
            <a:ext cx="150682" cy="1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73386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7231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C7EB34-6497-4D19-B99E-5F4D7F924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4" r="-1" b="-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0270E3B-760C-41F0-B9D6-A2E014047679}"/>
              </a:ext>
            </a:extLst>
          </p:cNvPr>
          <p:cNvSpPr/>
          <p:nvPr userDrawn="1"/>
        </p:nvSpPr>
        <p:spPr>
          <a:xfrm>
            <a:off x="536449" y="0"/>
            <a:ext cx="6363291" cy="147521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45000">
                <a:schemeClr val="tx2">
                  <a:lumMod val="50000"/>
                  <a:alpha val="90000"/>
                </a:schemeClr>
              </a:gs>
              <a:gs pos="100000">
                <a:schemeClr val="tx2">
                  <a:lumMod val="75000"/>
                  <a:alpha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1844677"/>
            <a:ext cx="6363291" cy="501332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b="0" cap="none" baseline="0" dirty="0">
                <a:solidFill>
                  <a:schemeClr val="bg1"/>
                </a:solidFill>
                <a:latin typeface="Franklin Gothic Demi" panose="020B07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73CF3BF-BC79-895D-2080-23B54D7D49E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5582" y="172909"/>
            <a:ext cx="2992347" cy="1118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93950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2521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 descr="A person holding a phone&#10;&#10;Description automatically generated with low confidence">
            <a:extLst>
              <a:ext uri="{FF2B5EF4-FFF2-40B4-BE49-F238E27FC236}">
                <a16:creationId xmlns:a16="http://schemas.microsoft.com/office/drawing/2014/main" id="{E6014E73-E918-7E3B-1116-0A79F39C8C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22" t="-1" r="21590"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0270E3B-760C-41F0-B9D6-A2E014047679}"/>
              </a:ext>
            </a:extLst>
          </p:cNvPr>
          <p:cNvSpPr/>
          <p:nvPr userDrawn="1"/>
        </p:nvSpPr>
        <p:spPr>
          <a:xfrm>
            <a:off x="536449" y="0"/>
            <a:ext cx="6363291" cy="147521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45000">
                <a:schemeClr val="tx2">
                  <a:lumMod val="50000"/>
                  <a:alpha val="90000"/>
                </a:schemeClr>
              </a:gs>
              <a:gs pos="100000">
                <a:schemeClr val="tx2">
                  <a:lumMod val="75000"/>
                  <a:alpha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CEEA00B-DE05-BC01-6E87-AC9F343D546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5582" y="172909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C7EB34-6497-4D19-B99E-5F4D7F924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1844677"/>
            <a:ext cx="6363291" cy="501332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b="0" cap="none" baseline="0" dirty="0">
                <a:solidFill>
                  <a:schemeClr val="bg1"/>
                </a:solidFill>
                <a:latin typeface="Franklin Gothic Demi" panose="020B07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  <a:endParaRPr lang="en-US" dirty="0"/>
          </a:p>
        </p:txBody>
      </p:sp>
      <p:grpSp>
        <p:nvGrpSpPr>
          <p:cNvPr id="7" name="Google Shape;36;p40">
            <a:extLst>
              <a:ext uri="{FF2B5EF4-FFF2-40B4-BE49-F238E27FC236}">
                <a16:creationId xmlns:a16="http://schemas.microsoft.com/office/drawing/2014/main" id="{71CB15B7-864A-9DC1-657D-C5E29829C0C4}"/>
              </a:ext>
            </a:extLst>
          </p:cNvPr>
          <p:cNvGrpSpPr/>
          <p:nvPr userDrawn="1"/>
        </p:nvGrpSpPr>
        <p:grpSpPr>
          <a:xfrm>
            <a:off x="11998460" y="6162190"/>
            <a:ext cx="68500" cy="441924"/>
            <a:chOff x="11998459" y="6162188"/>
            <a:chExt cx="68500" cy="441925"/>
          </a:xfrm>
        </p:grpSpPr>
        <p:sp>
          <p:nvSpPr>
            <p:cNvPr id="8" name="Google Shape;37;p40">
              <a:extLst>
                <a:ext uri="{FF2B5EF4-FFF2-40B4-BE49-F238E27FC236}">
                  <a16:creationId xmlns:a16="http://schemas.microsoft.com/office/drawing/2014/main" id="{EA80B92E-3B36-97BC-4D57-7347B591B62F}"/>
                </a:ext>
              </a:extLst>
            </p:cNvPr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8;p40">
              <a:extLst>
                <a:ext uri="{FF2B5EF4-FFF2-40B4-BE49-F238E27FC236}">
                  <a16:creationId xmlns:a16="http://schemas.microsoft.com/office/drawing/2014/main" id="{4995F9A6-17AD-A39B-8EA7-0DE7FBFF28FE}"/>
                </a:ext>
              </a:extLst>
            </p:cNvPr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9;p40">
              <a:extLst>
                <a:ext uri="{FF2B5EF4-FFF2-40B4-BE49-F238E27FC236}">
                  <a16:creationId xmlns:a16="http://schemas.microsoft.com/office/drawing/2014/main" id="{34E53C25-2166-CAC6-9E8F-A0BE178603EB}"/>
                </a:ext>
              </a:extLst>
            </p:cNvPr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40;p40">
              <a:extLst>
                <a:ext uri="{FF2B5EF4-FFF2-40B4-BE49-F238E27FC236}">
                  <a16:creationId xmlns:a16="http://schemas.microsoft.com/office/drawing/2014/main" id="{5B114610-DBFE-CDA2-3B7A-F0C2EE7DB0A5}"/>
                </a:ext>
              </a:extLst>
            </p:cNvPr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41;p40">
              <a:extLst>
                <a:ext uri="{FF2B5EF4-FFF2-40B4-BE49-F238E27FC236}">
                  <a16:creationId xmlns:a16="http://schemas.microsoft.com/office/drawing/2014/main" id="{7D0C0229-5440-8189-5503-5D9E544B57CA}"/>
                </a:ext>
              </a:extLst>
            </p:cNvPr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42;p40">
              <a:extLst>
                <a:ext uri="{FF2B5EF4-FFF2-40B4-BE49-F238E27FC236}">
                  <a16:creationId xmlns:a16="http://schemas.microsoft.com/office/drawing/2014/main" id="{FC619FBD-843D-EBA5-67AB-147D3A892EE3}"/>
                </a:ext>
              </a:extLst>
            </p:cNvPr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43;p40">
              <a:extLst>
                <a:ext uri="{FF2B5EF4-FFF2-40B4-BE49-F238E27FC236}">
                  <a16:creationId xmlns:a16="http://schemas.microsoft.com/office/drawing/2014/main" id="{CCC34957-9A7C-0763-8B57-5A07BF04DFF2}"/>
                </a:ext>
              </a:extLst>
            </p:cNvPr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44;p40">
              <a:extLst>
                <a:ext uri="{FF2B5EF4-FFF2-40B4-BE49-F238E27FC236}">
                  <a16:creationId xmlns:a16="http://schemas.microsoft.com/office/drawing/2014/main" id="{AFA1F52E-53BE-E294-409A-0652228C6A15}"/>
                </a:ext>
              </a:extLst>
            </p:cNvPr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45;p40">
              <a:extLst>
                <a:ext uri="{FF2B5EF4-FFF2-40B4-BE49-F238E27FC236}">
                  <a16:creationId xmlns:a16="http://schemas.microsoft.com/office/drawing/2014/main" id="{E3E692E2-49D9-5C5D-0473-3946E393C3DF}"/>
                </a:ext>
              </a:extLst>
            </p:cNvPr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46;p40">
              <a:extLst>
                <a:ext uri="{FF2B5EF4-FFF2-40B4-BE49-F238E27FC236}">
                  <a16:creationId xmlns:a16="http://schemas.microsoft.com/office/drawing/2014/main" id="{3184E9C6-3ECC-49EC-2BCB-E2FD9A3F5F76}"/>
                </a:ext>
              </a:extLst>
            </p:cNvPr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47;p40">
              <a:extLst>
                <a:ext uri="{FF2B5EF4-FFF2-40B4-BE49-F238E27FC236}">
                  <a16:creationId xmlns:a16="http://schemas.microsoft.com/office/drawing/2014/main" id="{44E2B659-1506-7949-0B17-5E4459601EB9}"/>
                </a:ext>
              </a:extLst>
            </p:cNvPr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48;p40">
              <a:extLst>
                <a:ext uri="{FF2B5EF4-FFF2-40B4-BE49-F238E27FC236}">
                  <a16:creationId xmlns:a16="http://schemas.microsoft.com/office/drawing/2014/main" id="{CC6ED06C-97E6-48AB-E9A5-1D80DD743E7B}"/>
                </a:ext>
              </a:extLst>
            </p:cNvPr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49;p40">
              <a:extLst>
                <a:ext uri="{FF2B5EF4-FFF2-40B4-BE49-F238E27FC236}">
                  <a16:creationId xmlns:a16="http://schemas.microsoft.com/office/drawing/2014/main" id="{2820FE41-EED0-281E-DD24-13E298BB539A}"/>
                </a:ext>
              </a:extLst>
            </p:cNvPr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" name="Google Shape;50;p40">
            <a:extLst>
              <a:ext uri="{FF2B5EF4-FFF2-40B4-BE49-F238E27FC236}">
                <a16:creationId xmlns:a16="http://schemas.microsoft.com/office/drawing/2014/main" id="{0CE85B7A-8B69-DC97-F849-280347C23F9A}"/>
              </a:ext>
            </a:extLst>
          </p:cNvPr>
          <p:cNvSpPr txBox="1"/>
          <p:nvPr userDrawn="1"/>
        </p:nvSpPr>
        <p:spPr>
          <a:xfrm rot="-5400000">
            <a:off x="11250972" y="5290634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IN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1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1383585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64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A415120D-3668-49C1-AE11-A5139E17FB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4" t="3933" r="2214" b="3933"/>
          <a:stretch/>
        </p:blipFill>
        <p:spPr>
          <a:xfrm>
            <a:off x="269998" y="270000"/>
            <a:ext cx="11652001" cy="631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BE857BB-5DDF-4AEA-8F22-D5F9820E5C07}"/>
              </a:ext>
            </a:extLst>
          </p:cNvPr>
          <p:cNvSpPr/>
          <p:nvPr userDrawn="1"/>
        </p:nvSpPr>
        <p:spPr>
          <a:xfrm>
            <a:off x="536449" y="540000"/>
            <a:ext cx="6363891" cy="631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6B2B309-DF2B-9D8F-69F9-E990D37D8E9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1261" y="622237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4A727BF-EF41-4850-A868-11C0325A6C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6" y="3066686"/>
            <a:ext cx="5337943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6" y="4348579"/>
            <a:ext cx="5337943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41938437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28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7" t="8006" r="4517" b="8006"/>
          <a:stretch/>
        </p:blipFill>
        <p:spPr>
          <a:xfrm>
            <a:off x="550861" y="549275"/>
            <a:ext cx="11090276" cy="575945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A92DE9B-D3C3-4D9E-909D-59D0ACABEB18}"/>
              </a:ext>
            </a:extLst>
          </p:cNvPr>
          <p:cNvSpPr/>
          <p:nvPr userDrawn="1"/>
        </p:nvSpPr>
        <p:spPr>
          <a:xfrm>
            <a:off x="1083553" y="1080000"/>
            <a:ext cx="5816186" cy="577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50F7501-6EC7-1AC7-42E0-4E0B8DEC262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47078" y="1317829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C3BFC25-365A-4293-AFC3-06979C33ED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31950" y="5778001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1951" y="3610939"/>
            <a:ext cx="4799330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1951" y="4892832"/>
            <a:ext cx="4799330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909917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3416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F80F200-6A77-426D-879D-7C93BD8B9F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5" y="2175804"/>
            <a:ext cx="19836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857376"/>
            <a:ext cx="19836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4050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4050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475C8AB-1FCD-402F-8C3E-9BA6CE42B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27458" y="2175804"/>
            <a:ext cx="19836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35FA198-8A13-4A8F-B4EE-49845B8E8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27458" y="1857376"/>
            <a:ext cx="19836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6ACE083-C86D-45ED-8C11-019550696D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80643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29247DB4-9C96-4895-AABD-422C522A97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80643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ADA6637A-F017-4396-B239-B80ED2F97B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60801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7B295F18-5030-4811-B6C7-29EE7444BC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60801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E372659-0669-485A-8EB1-D45CE8B0F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5030548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923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5627" r="-1" b="6561"/>
          <a:stretch/>
        </p:blipFill>
        <p:spPr>
          <a:xfrm>
            <a:off x="0" y="1522048"/>
            <a:ext cx="12192000" cy="533595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0"/>
            <a:ext cx="6363291" cy="630872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39000">
                <a:schemeClr val="tx2">
                  <a:lumMod val="75000"/>
                  <a:alpha val="95000"/>
                </a:schemeClr>
              </a:gs>
              <a:gs pos="7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683BD48-CFDF-B684-1DAD-50E88FF5A58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0382" y="148436"/>
            <a:ext cx="3231114" cy="1208188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14727E-8174-4A53-8CD1-66A25E0EEA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842431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19383194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 preserve="1">
  <p:cSld name="Breaker Slide_1">
    <p:bg>
      <p:bgPr>
        <a:solidFill>
          <a:schemeClr val="lt2"/>
        </a:solidFill>
        <a:effectLst/>
      </p:bgPr>
    </p:bg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FFEEBE7-590A-7C8C-78C2-DFD25580D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778059"/>
              </p:ext>
            </p:extLst>
          </p:nvPr>
        </p:nvGraphicFramePr>
        <p:xfrm>
          <a:off x="1440" y="1440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FFEEBE7-590A-7C8C-78C2-DFD25580D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40" y="1440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Google Shape;33;p40" descr="A picture containing graphical user interface&#10;&#10;Description automatically generated"/>
          <p:cNvPicPr preferRelativeResize="0"/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/>
          <a:stretch/>
        </p:blipFill>
        <p:spPr>
          <a:xfrm>
            <a:off x="1" y="-6562"/>
            <a:ext cx="12192000" cy="6864562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40"/>
          <p:cNvSpPr/>
          <p:nvPr/>
        </p:nvSpPr>
        <p:spPr>
          <a:xfrm>
            <a:off x="0" y="3853544"/>
            <a:ext cx="6240464" cy="2261507"/>
          </a:xfrm>
          <a:prstGeom prst="rect">
            <a:avLst/>
          </a:prstGeom>
          <a:gradFill>
            <a:gsLst>
              <a:gs pos="0">
                <a:srgbClr val="062379">
                  <a:alpha val="80000"/>
                </a:srgbClr>
              </a:gs>
              <a:gs pos="55000">
                <a:srgbClr val="385ED2">
                  <a:alpha val="80000"/>
                </a:srgbClr>
              </a:gs>
              <a:gs pos="76000">
                <a:srgbClr val="4873F5">
                  <a:alpha val="80000"/>
                </a:srgbClr>
              </a:gs>
              <a:gs pos="100000">
                <a:srgbClr val="43E1D3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40"/>
          <p:cNvSpPr txBox="1">
            <a:spLocks noGrp="1"/>
          </p:cNvSpPr>
          <p:nvPr>
            <p:ph type="title"/>
          </p:nvPr>
        </p:nvSpPr>
        <p:spPr>
          <a:xfrm>
            <a:off x="589046" y="4638134"/>
            <a:ext cx="5400674" cy="692323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4999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grpSp>
        <p:nvGrpSpPr>
          <p:cNvPr id="36" name="Google Shape;36;p40"/>
          <p:cNvGrpSpPr/>
          <p:nvPr/>
        </p:nvGrpSpPr>
        <p:grpSpPr>
          <a:xfrm>
            <a:off x="11998460" y="6162190"/>
            <a:ext cx="68500" cy="441924"/>
            <a:chOff x="11998459" y="6162188"/>
            <a:chExt cx="68500" cy="441925"/>
          </a:xfrm>
        </p:grpSpPr>
        <p:sp>
          <p:nvSpPr>
            <p:cNvPr id="37" name="Google Shape;37;p40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8;p40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9;p40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40;p40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41;p40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42;p40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43;p40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44;p40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45;p40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46;p40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40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48;p40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49;p40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" name="Google Shape;50;p40"/>
          <p:cNvSpPr txBox="1"/>
          <p:nvPr/>
        </p:nvSpPr>
        <p:spPr>
          <a:xfrm rot="-5400000">
            <a:off x="11250972" y="5290634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IN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1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51;p40"/>
          <p:cNvSpPr txBox="1">
            <a:spLocks noGrp="1"/>
          </p:cNvSpPr>
          <p:nvPr>
            <p:ph type="sldNum" idx="12"/>
          </p:nvPr>
        </p:nvSpPr>
        <p:spPr>
          <a:xfrm>
            <a:off x="11490154" y="6465614"/>
            <a:ext cx="150682" cy="1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32529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v="urn:schemas-microsoft-com:vml" xmlns:pvml="urn:schemas-microsoft-com:office:powerpoint" xmlns:p15="http://schemas.microsoft.com/office/powerpoint/2012/main" xmlns:o="urn:schemas-microsoft-com:office:office" xmlns:mv="urn:schemas-microsoft-com:mac:vml" xmlns:dgm="http://schemas.openxmlformats.org/drawingml/2006/diagram" xmlns:com="http://schemas.openxmlformats.org/drawingml/2006/compatibility" xmlns:c="http://schemas.openxmlformats.org/drawingml/2006/chart" xmlns:ahyp="http://schemas.microsoft.com/office/drawing/2018/hyperlinkcolor"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215EE13-6A4D-48C2-A4B1-30DA07094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560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215EE13-6A4D-48C2-A4B1-30DA07094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863ADCA1-24FF-455B-8752-270197618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2229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latin typeface="Franklin Gothic Demi" panose="020B070302010202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7DA5DEC-E51B-46CB-9299-8778528682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1814" y="1028324"/>
            <a:ext cx="11089972" cy="292388"/>
          </a:xfrm>
        </p:spPr>
        <p:txBody>
          <a:bodyPr>
            <a:spAutoFit/>
          </a:bodyPr>
          <a:lstStyle>
            <a:lvl1pPr>
              <a:defRPr sz="2000">
                <a:solidFill>
                  <a:schemeClr val="tx2">
                    <a:lumMod val="60000"/>
                    <a:lumOff val="40000"/>
                  </a:schemeClr>
                </a:solidFill>
                <a:latin typeface="Franklin Gothic Book" panose="020B050302010202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1CD3974-176A-43B6-8E60-33BCD19BBC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129609563"/>
      </p:ext>
    </p:extLst>
  </p:cSld>
  <p:clrMapOvr>
    <a:masterClrMapping/>
  </p:clrMapOvr>
  <p:hf hd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365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188F3D-7189-4E9E-89E6-895DD2D93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24982568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ith backgroun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261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5A3ACF9-E695-4094-9A16-A4F48EC9FF1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7D7FE3-E237-42E3-89BE-6BCC588B6C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19480339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785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4C70F-8641-4AD5-A3F6-0EBA9C54EA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3EF22FF7-C1AC-4F2A-9E98-236284660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4D4977A-6637-4106-96DA-BDAAC2518559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74D7535-DD55-4BCD-A913-9F98A80E2AAD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25BE1D1D-5C46-42D6-AA46-FD5902FDE024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A7F7D663-CB75-456D-911A-BD2A8F59B130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97E6936-7A47-4E85-B003-37AE13A73F22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B6F6AB7C-E8B0-4611-A905-F86C05FEC940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504CE7F7-478B-4DFB-A021-80071B529493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522A9F9-C26A-4B72-93CD-9528636133FE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D674410-4755-485D-BEA6-A9EE31599080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52F1A2D-9FF5-49A3-B11A-A842CB94EEE7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7660309-3ECC-487F-9D6C-08DE732EEA92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29373EC6-22EE-4AE8-A986-A3662C2AF607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EF08C567-10B3-494B-8347-38E808F75B2A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107EA0CD-BF40-4B85-88B1-06D5221EA25F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580E308-C62A-4BCD-993B-AFE1C3E57E94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836F53DC-0C00-4681-ADA4-58AABB9FD0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40" name="Copyright">
              <a:extLst>
                <a:ext uri="{FF2B5EF4-FFF2-40B4-BE49-F238E27FC236}">
                  <a16:creationId xmlns:a16="http://schemas.microsoft.com/office/drawing/2014/main" id="{36107045-99BA-4480-99BA-1F7D50690723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0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350013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623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88B1CBF-9B2F-4725-98BB-E3D2571154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2175804"/>
            <a:ext cx="54006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857376"/>
            <a:ext cx="5400675" cy="263149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4" y="2175804"/>
            <a:ext cx="54006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464" y="1857376"/>
            <a:ext cx="5400675" cy="263149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56E97DD-069F-4133-A109-0593CB969E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98843675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8172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2476173-BEA2-49BD-B5FE-C9602A2A7D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5" y="2175804"/>
            <a:ext cx="3506976" cy="1177245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 smtClean="0"/>
            </a:lvl2pPr>
            <a:lvl3pPr marL="179388" indent="0">
              <a:buNone/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857376"/>
            <a:ext cx="35069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35839" y="2175804"/>
            <a:ext cx="35053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35839" y="1857376"/>
            <a:ext cx="35053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59121794-F5DD-4A31-9CFD-38DDBBCF1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44162" y="2175804"/>
            <a:ext cx="35053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3143DD43-CBE6-4068-87AB-C994C18915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4162" y="1857376"/>
            <a:ext cx="35053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9CDC1BE-F1D3-4AAB-9527-98835405BA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13496236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911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14B796-0A71-42E1-B6EB-B6B2B79412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4" y="2175804"/>
            <a:ext cx="2559476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857376"/>
            <a:ext cx="25594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4" y="2175804"/>
            <a:ext cx="25548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464" y="1857376"/>
            <a:ext cx="2554875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475C8AB-1FCD-402F-8C3E-9BA6CE42B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4" y="2175804"/>
            <a:ext cx="2559476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35FA198-8A13-4A8F-B4EE-49845B8E8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5664" y="1857376"/>
            <a:ext cx="25594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6ACE083-C86D-45ED-8C11-019550696D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86263" y="2175804"/>
            <a:ext cx="25548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29247DB4-9C96-4895-AABD-422C522A97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6263" y="1857376"/>
            <a:ext cx="2554875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0B9447C-186B-4C6F-929F-503046B2C3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05539258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3416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F80F200-6A77-426D-879D-7C93BD8B9F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5" y="2175804"/>
            <a:ext cx="19836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857376"/>
            <a:ext cx="19836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4050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4050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475C8AB-1FCD-402F-8C3E-9BA6CE42B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27458" y="2175804"/>
            <a:ext cx="19836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35FA198-8A13-4A8F-B4EE-49845B8E8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27458" y="1857376"/>
            <a:ext cx="19836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6ACE083-C86D-45ED-8C11-019550696D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80643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29247DB4-9C96-4895-AABD-422C522A97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80643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ADA6637A-F017-4396-B239-B80ED2F97B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60801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7B295F18-5030-4811-B6C7-29EE7444BC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60801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E372659-0669-485A-8EB1-D45CE8B0F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3452427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Grey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769024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1C34F18-9238-4944-9751-DBBFCD9E3C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039D39E-8FE8-4C3F-AE18-8C3DCD3BA4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E004E42-DB15-49F0-9906-81D60B6E8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3235117" cy="837152"/>
          </a:xfrm>
        </p:spPr>
        <p:txBody>
          <a:bodyPr>
            <a:sp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4073863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Grey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769024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1C34F18-9238-4944-9751-DBBFCD9E3C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039D39E-8FE8-4C3F-AE18-8C3DCD3BA4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E004E42-DB15-49F0-9906-81D60B6E8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3235117" cy="837152"/>
          </a:xfrm>
        </p:spPr>
        <p:txBody>
          <a:bodyPr>
            <a:sp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0670589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925261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C7BEB73-A27D-4B04-A133-510ECB47E91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727F30D-9242-4A88-9322-2EDE74F75B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1BEDEA-6CDE-421B-87A1-0632A5F947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3135726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4175716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Lef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517025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8FBABF1-7718-43F6-B247-8269F95D22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5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8429EF-F441-3040-BB9E-07E66E2B2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142" y="2546064"/>
            <a:ext cx="3032465" cy="176586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45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E6F1C9-C479-4E50-B466-BBB81EB0E1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16228098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Blu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57473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AAE3F72-88DF-4B4D-99C2-2DFE1EFB16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6098537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7F38A5-E451-48CD-9B09-4D22AB98C6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923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2586D8-6C60-41B6-B276-7BF701FEA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5163309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4153701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882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148355-9A23-4C82-8F0E-F21594843C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1F99190-1A65-41A8-BBA7-98BD441A8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50D61507-3612-4ECE-96B7-0F9C15D342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CE9086E-00AC-4525-B7C4-F51B01FEA197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F2864F8-CE03-42D9-A1C6-49C13A90928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DDB86A9-D96F-4924-9B1A-50C360C15742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86074501-3762-407F-A74D-3799FEAFBD37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3D29F00-385D-4638-BD08-A8B98A323401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E2A3DD6C-1362-40F5-A7B3-2E963C5D94FF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6616E241-6E09-4071-B657-CE4E7BB5CD37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6A9939C2-C1A3-49F7-A69F-F2E83814F06B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C6484D2-FDEB-453B-ACAB-605BDF0437F1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E626162E-D8C5-4F77-A6A1-E2B6C7CABFC3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6446D18-F2A6-4A1D-9193-2C1738C1053D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6A74D8F-C94B-4FE0-9FED-86918ACD7711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FE130351-367D-46DC-AEF2-11BF681D6F21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1295B187-375A-4BC1-8930-8B6FB7B25415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987C9E7-CE53-4EC9-8C60-48477925BADC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9" name="Copyright">
              <a:extLst>
                <a:ext uri="{FF2B5EF4-FFF2-40B4-BE49-F238E27FC236}">
                  <a16:creationId xmlns:a16="http://schemas.microsoft.com/office/drawing/2014/main" id="{7F3EFBBF-8F6E-4F95-970D-289D95FB3EDE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261436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G (with 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08331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148355-9A23-4C82-8F0E-F21594843C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C27F5F1-6E1A-43D9-B04D-DEEBA03354E7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3878A702-A86E-4356-99F5-6CC007B3A84C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75A2218-59DA-4B99-8DEE-5DF1044A636F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E8F166A-EB8B-4235-A114-5C9D062319D5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2FC6C6B-C81D-4FE7-9F3B-65F6B734168D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8EBE5-A780-49FB-9EAB-A8F48E23FAC5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ADB921C-741F-494D-9C24-2E06B3F237E1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2CBAA18-CC04-464C-B2DA-F60F1DFE63B3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7D25102-BF68-4480-830D-1A1BE174C734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EE8638F-0CD8-4C03-9847-FAF25CBB620A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481A8A-8F5D-40BC-B59F-D4CEF2254BB7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50965BC-1532-45A0-8F0A-37DAEC7BBE6F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C1AF2FC-06E9-481D-AAD4-A185594C60F4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1342B2-AEC9-4B66-9503-4CFC2ED0B897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41AC723-9EBC-48CA-B1C7-D2D5419421B0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4" name="Copyright">
            <a:extLst>
              <a:ext uri="{FF2B5EF4-FFF2-40B4-BE49-F238E27FC236}">
                <a16:creationId xmlns:a16="http://schemas.microsoft.com/office/drawing/2014/main" id="{2B7A128F-26DE-473C-95DA-CCAF4D373141}"/>
              </a:ext>
            </a:extLst>
          </p:cNvPr>
          <p:cNvSpPr txBox="1"/>
          <p:nvPr userDrawn="1"/>
        </p:nvSpPr>
        <p:spPr>
          <a:xfrm rot="16200000">
            <a:off x="11250972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. All rights reserved.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1F99190-1A65-41A8-BBA7-98BD441A8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50D61507-3612-4ECE-96B7-0F9C15D342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EDF673-966E-4DCD-9A9F-89CC749ED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18576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3897705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84101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E2B9A3-0AB0-4FA9-BE30-99B8A88EB1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8134763" y="-1"/>
            <a:ext cx="4059776" cy="6858001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454" y="6445295"/>
            <a:ext cx="15068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7BD8F9-1D4E-4291-8770-E69192472F2F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767490F9-4012-46F8-ABED-EB2AEB970D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BFAF012-FF52-4660-B1EB-E3DAD4E5D0D9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63A8AA3-AFD6-4F1D-95AB-D3C5F7E6A748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81A09B8-B6D7-496D-AC8E-E2CC99E1F047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77B1E538-1876-4C5E-8612-52D93329CC93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BEB775BB-2E5F-4B32-9B48-8DE1DD506FB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DF313EF-4694-4121-BF30-C1139E1F9D1C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F3BB4C7-5441-4DAF-B428-07833129A3C4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ADF2282-0F9C-41BD-8919-3F118F7AFA19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07EBF3C-B087-4F18-8637-DB3F73785049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FE95DEE8-DE4E-456F-B56B-0D9C34409112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34E317DF-5709-4B5E-A764-DBE2AC16DCAC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ABAA8A11-8055-4872-829E-9B4ACFB0448C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F3D0752F-4BE1-4DEA-9A91-C12628B9D905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27F6B00-C84C-430B-B7C2-DFB7384C7332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C86C1E6A-A2B0-4B52-82F6-EA7C2BB679FC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7" name="Copyright">
              <a:extLst>
                <a:ext uri="{FF2B5EF4-FFF2-40B4-BE49-F238E27FC236}">
                  <a16:creationId xmlns:a16="http://schemas.microsoft.com/office/drawing/2014/main" id="{6F9ADEBF-B227-47BA-9FFB-3881EE358DB3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D6CAC9C2-9DC0-4151-8814-3516E0ADB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7061683" cy="42229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4633828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Blu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811140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C2C367-8056-426B-81B2-4B2C7238E5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6096000" y="-1"/>
            <a:ext cx="6098539" cy="6858001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454" y="6445295"/>
            <a:ext cx="15068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8C5468B-3210-455B-960F-ACC92937B434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D9F423ED-15C9-4DBA-A5CC-A74A55A44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623CBF1-457C-4491-90EE-6DE3BD9C2B8C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C5D61D5-4D53-4B2F-830C-7C2D09806F8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1E4918B8-A176-47C4-9264-39A91C78CD7E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3201241E-6654-4B58-A757-746A35947F4F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AC0D2E0D-CECA-462E-BAF3-CF92D72544E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A50CAD15-5BF3-4472-BDB9-3E3E4742DD64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C3511C1-3179-44B4-BB52-D2B10DA8A6E2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7DD1BCC-9230-417B-A5CC-E1D3F6F61041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7A77373-FE9B-46C2-BEB4-F8B0A94BD53E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CB8ABB54-E991-461F-9791-D895B90E6700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773B4D2-2297-4AFE-A952-85F190728CC5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E052044D-7360-4930-ACEF-75B0996C9E40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78EE721A-1842-4613-97C0-83F42E192EFE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E04EC6AA-4D0D-4D6B-A317-D59028CD1190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33B47ABB-E212-4C3A-93F4-8ECF298B2F14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8" name="Copyright">
              <a:extLst>
                <a:ext uri="{FF2B5EF4-FFF2-40B4-BE49-F238E27FC236}">
                  <a16:creationId xmlns:a16="http://schemas.microsoft.com/office/drawing/2014/main" id="{63A391B4-F2D4-4CEA-BB2D-6FE9C17F564E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93E1D190-1D55-4D58-B05F-8B0C78FE1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5123552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1942366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er Slide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38369F-F8B4-42F9-9E33-ED43D3902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811257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38369F-F8B4-42F9-9E33-ED43D3902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6F88BD-D39D-4B55-A16B-68F5F7E3D6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9A2C76-32EA-4992-A965-D9260A5D160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82E60DA-1F02-9A45-8CE9-6CC78A3380F0}"/>
              </a:ext>
            </a:extLst>
          </p:cNvPr>
          <p:cNvSpPr/>
          <p:nvPr userDrawn="1"/>
        </p:nvSpPr>
        <p:spPr>
          <a:xfrm>
            <a:off x="1" y="0"/>
            <a:ext cx="2682587" cy="6858000"/>
          </a:xfrm>
          <a:prstGeom prst="rect">
            <a:avLst/>
          </a:prstGeom>
          <a:solidFill>
            <a:schemeClr val="bg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93BD1C-9237-8249-950A-62A7C86034D0}"/>
              </a:ext>
            </a:extLst>
          </p:cNvPr>
          <p:cNvSpPr/>
          <p:nvPr userDrawn="1"/>
        </p:nvSpPr>
        <p:spPr>
          <a:xfrm>
            <a:off x="1" y="3700464"/>
            <a:ext cx="9412014" cy="241458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410CA7A-4558-C443-9C75-2C8E863B7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592" y="4108436"/>
            <a:ext cx="8494899" cy="1569660"/>
          </a:xfrm>
          <a:effectLst>
            <a:outerShdw blurRad="1905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80000"/>
              </a:lnSpc>
              <a:defRPr lang="en-US" sz="60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A4D7170-2B51-4AFC-B047-0F5B3A69E471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DD1615D-0D55-4B48-87A2-0F30A4E3D8E7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C8D3D7F-D19B-49DE-9CB3-221A0639516B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30BC6AD-EFFB-4263-A0EB-5A8265D4385C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341753F-E8F7-47E2-8A08-516073C6B573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3E2B82A-AA52-459B-A885-2C9E46A7CA08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DCD4539-FE2A-4741-BBEF-2BADE6F5B99D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3FB79E5-53C4-46E5-AAF3-BCDBDA5A2D1D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09CEBDE-5D0C-41B5-85C2-CBC9DA810EFB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887E364-69C8-42A1-811A-4726514CBCE3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8A0E0BB-B67F-4B6F-A66E-3D42CC14F9E7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97C39D0-A99F-467C-9FAD-1FEC939449C9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B512C9A-2B27-4460-B3C8-AA6460E8DA65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A1FA1F5-B76B-4B98-99DC-DD1D17B7F23E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7" name="Copyright">
            <a:extLst>
              <a:ext uri="{FF2B5EF4-FFF2-40B4-BE49-F238E27FC236}">
                <a16:creationId xmlns:a16="http://schemas.microsoft.com/office/drawing/2014/main" id="{EB60B0AE-F9C0-4FBF-9FE6-F8CE2ED57C40}"/>
              </a:ext>
            </a:extLst>
          </p:cNvPr>
          <p:cNvSpPr txBox="1"/>
          <p:nvPr userDrawn="1"/>
        </p:nvSpPr>
        <p:spPr>
          <a:xfrm rot="16200000">
            <a:off x="11250972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. All rights reserved.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B037CC6-E5CE-4CBE-B183-A4AF78E15E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21692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_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38369F-F8B4-42F9-9E33-ED43D3902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57384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38369F-F8B4-42F9-9E33-ED43D3902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6F88BD-D39D-4B55-A16B-68F5F7E3D6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E076F7-2F5B-46F9-A7D4-BCD4A1BF4FB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grayscl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5571307-B5A1-49FA-8B2A-10157FD7593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55000">
                <a:schemeClr val="tx2">
                  <a:lumMod val="75000"/>
                  <a:alpha val="90000"/>
                </a:schemeClr>
              </a:gs>
              <a:gs pos="85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410CA7A-4558-C443-9C75-2C8E863B7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effectLst>
            <a:outerShdw blurRad="1905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80000"/>
              </a:lnSpc>
              <a:defRPr lang="en-US" sz="60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B037CC6-E5CE-4CBE-B183-A4AF78E15E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B1B01B0-505C-4864-BC9B-FBCE18D02D9C}"/>
              </a:ext>
            </a:extLst>
          </p:cNvPr>
          <p:cNvCxnSpPr>
            <a:cxnSpLocks/>
          </p:cNvCxnSpPr>
          <p:nvPr userDrawn="1"/>
        </p:nvCxnSpPr>
        <p:spPr>
          <a:xfrm>
            <a:off x="992389" y="5712304"/>
            <a:ext cx="154246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5DDDC21-5EC0-4BC6-A759-2D861F3A42C0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6CE34071-C191-4EA0-879B-938D0D7FB2DC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86C589D3-2A68-47B4-A186-DCD2A83FCFC8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BB41610-46EC-428B-835A-19794F87B288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335B418E-1CF7-49D6-9410-F4E0F9CA8FD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75874F1C-8BBD-43D9-9576-2326771CDA5E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41BF7ED0-D40C-414C-A361-03E0EC0CA1B8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0A1FE6F-2C49-4E56-BBB6-F7F2308FE7A5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8FE97711-BCB1-4A87-B444-FE49A24C954C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C90751F-BC28-4C38-9AEE-4FE522001DE3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4759EB0F-4722-48F9-98B5-35600B2F5F54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1E9ED425-DEE8-4FE5-B40D-E5D7FC3B173C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6FED47B5-7813-41FF-82AD-062C1EBA79EB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3412D8B3-B39C-4308-9921-278312CC9BDA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279E12B4-9493-4742-A8EB-9E495955EF01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34" name="Copyright">
              <a:extLst>
                <a:ext uri="{FF2B5EF4-FFF2-40B4-BE49-F238E27FC236}">
                  <a16:creationId xmlns:a16="http://schemas.microsoft.com/office/drawing/2014/main" id="{063EE5AF-0F23-4E4D-946B-2EF723C73A98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32313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925261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C7BEB73-A27D-4B04-A133-510ECB47E91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727F30D-9242-4A88-9322-2EDE74F75B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1BEDEA-6CDE-421B-87A1-0632A5F947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3135726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9570888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02073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3E76732-5A5F-B03D-320E-52CD6F1CBCF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43457" y="2592164"/>
            <a:ext cx="4386551" cy="164023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106A152-DC8B-0C47-8CFD-D99759D28F81}"/>
              </a:ext>
            </a:extLst>
          </p:cNvPr>
          <p:cNvSpPr txBox="1"/>
          <p:nvPr userDrawn="1"/>
        </p:nvSpPr>
        <p:spPr>
          <a:xfrm>
            <a:off x="550863" y="5965461"/>
            <a:ext cx="302948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1" i="0" u="none" dirty="0">
                <a:solidFill>
                  <a:schemeClr val="accent3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  <a:sym typeface="Calibri" panose="020F0502020204030204" pitchFamily="34" charset="0"/>
              </a:rPr>
              <a:t>www.infomineo.com</a:t>
            </a:r>
          </a:p>
          <a:p>
            <a:pPr algn="l"/>
            <a:r>
              <a:rPr lang="en-GB" sz="1200" b="0" i="0" dirty="0">
                <a:solidFill>
                  <a:schemeClr val="bg1"/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  <a:sym typeface="Calibri" panose="020F0502020204030204" pitchFamily="34" charset="0"/>
              </a:rPr>
              <a:t>Infomineo Copyright © 2023. All rights reserved.</a:t>
            </a:r>
          </a:p>
        </p:txBody>
      </p:sp>
      <p:pic>
        <p:nvPicPr>
          <p:cNvPr id="30" name="Picture 29">
            <a:hlinkClick r:id="rId7"/>
            <a:extLst>
              <a:ext uri="{FF2B5EF4-FFF2-40B4-BE49-F238E27FC236}">
                <a16:creationId xmlns:a16="http://schemas.microsoft.com/office/drawing/2014/main" id="{3ED467EF-C028-4376-B7C8-A8830D77CF7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3329" y="5965461"/>
            <a:ext cx="370332" cy="370332"/>
          </a:xfrm>
          <a:prstGeom prst="rect">
            <a:avLst/>
          </a:prstGeom>
        </p:spPr>
      </p:pic>
      <p:pic>
        <p:nvPicPr>
          <p:cNvPr id="32" name="Picture 31">
            <a:hlinkClick r:id="rId9"/>
            <a:extLst>
              <a:ext uri="{FF2B5EF4-FFF2-40B4-BE49-F238E27FC236}">
                <a16:creationId xmlns:a16="http://schemas.microsoft.com/office/drawing/2014/main" id="{3BF2889F-2FC0-49EE-9DAD-8868FC3BE52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965" y="5965461"/>
            <a:ext cx="368808" cy="370332"/>
          </a:xfrm>
          <a:prstGeom prst="rect">
            <a:avLst/>
          </a:prstGeom>
        </p:spPr>
      </p:pic>
      <p:pic>
        <p:nvPicPr>
          <p:cNvPr id="34" name="Picture 33">
            <a:hlinkClick r:id="rId11"/>
            <a:extLst>
              <a:ext uri="{FF2B5EF4-FFF2-40B4-BE49-F238E27FC236}">
                <a16:creationId xmlns:a16="http://schemas.microsoft.com/office/drawing/2014/main" id="{96507CF0-D683-43B8-9352-634205E2EC2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8600" y="5965461"/>
            <a:ext cx="368808" cy="37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27044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>
            <a:extLst>
              <a:ext uri="{FF2B5EF4-FFF2-40B4-BE49-F238E27FC236}">
                <a16:creationId xmlns:a16="http://schemas.microsoft.com/office/drawing/2014/main" id="{C7E8C095-69F2-4BC8-964E-A1BFE9309E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833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9" name="Object 48" hidden="1">
                        <a:extLst>
                          <a:ext uri="{FF2B5EF4-FFF2-40B4-BE49-F238E27FC236}">
                            <a16:creationId xmlns:a16="http://schemas.microsoft.com/office/drawing/2014/main" id="{C7E8C095-69F2-4BC8-964E-A1BFE9309E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5F11C0-1445-4182-AF87-C63E0DB6C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7" name="Freeform: Shape 95">
            <a:extLst>
              <a:ext uri="{FF2B5EF4-FFF2-40B4-BE49-F238E27FC236}">
                <a16:creationId xmlns:a16="http://schemas.microsoft.com/office/drawing/2014/main" id="{E5A08834-247C-4C9E-93E7-8514C051C060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566584 w 12193200"/>
              <a:gd name="connsiteY0" fmla="*/ 549276 h 6858000"/>
              <a:gd name="connsiteX1" fmla="*/ 566584 w 12193200"/>
              <a:gd name="connsiteY1" fmla="*/ 6308726 h 6858000"/>
              <a:gd name="connsiteX2" fmla="*/ 11641138 w 12193200"/>
              <a:gd name="connsiteY2" fmla="*/ 6308726 h 6858000"/>
              <a:gd name="connsiteX3" fmla="*/ 11641138 w 12193200"/>
              <a:gd name="connsiteY3" fmla="*/ 549276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22800 h 6858000"/>
              <a:gd name="connsiteX7" fmla="*/ 12192000 w 12193200"/>
              <a:gd name="connsiteY7" fmla="*/ 622800 h 6858000"/>
              <a:gd name="connsiteX8" fmla="*/ 12192000 w 12193200"/>
              <a:gd name="connsiteY8" fmla="*/ 6160597 h 6858000"/>
              <a:gd name="connsiteX9" fmla="*/ 12193200 w 12193200"/>
              <a:gd name="connsiteY9" fmla="*/ 6160597 h 6858000"/>
              <a:gd name="connsiteX10" fmla="*/ 12193200 w 12193200"/>
              <a:gd name="connsiteY10" fmla="*/ 6858000 h 6858000"/>
              <a:gd name="connsiteX11" fmla="*/ 12192000 w 12193200"/>
              <a:gd name="connsiteY11" fmla="*/ 6858000 h 6858000"/>
              <a:gd name="connsiteX12" fmla="*/ 11562000 w 12193200"/>
              <a:gd name="connsiteY12" fmla="*/ 6858000 h 6858000"/>
              <a:gd name="connsiteX13" fmla="*/ 630001 w 12193200"/>
              <a:gd name="connsiteY13" fmla="*/ 6858000 h 6858000"/>
              <a:gd name="connsiteX14" fmla="*/ 1 w 12193200"/>
              <a:gd name="connsiteY14" fmla="*/ 6858000 h 6858000"/>
              <a:gd name="connsiteX15" fmla="*/ 1 w 12193200"/>
              <a:gd name="connsiteY15" fmla="*/ 6160597 h 6858000"/>
              <a:gd name="connsiteX16" fmla="*/ 1 w 12193200"/>
              <a:gd name="connsiteY16" fmla="*/ 622800 h 6858000"/>
              <a:gd name="connsiteX17" fmla="*/ 0 w 12193200"/>
              <a:gd name="connsiteY17" fmla="*/ 622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3200" h="685800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5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59B0D14-7DD8-45E2-B968-99300FF0D28D}"/>
              </a:ext>
            </a:extLst>
          </p:cNvPr>
          <p:cNvGrpSpPr/>
          <p:nvPr userDrawn="1"/>
        </p:nvGrpSpPr>
        <p:grpSpPr>
          <a:xfrm>
            <a:off x="-600" y="549275"/>
            <a:ext cx="12193200" cy="5759450"/>
            <a:chOff x="-600" y="549275"/>
            <a:chExt cx="12193200" cy="5759450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FD9771C-C32F-443B-97DA-AB808B787FCB}"/>
                </a:ext>
              </a:extLst>
            </p:cNvPr>
            <p:cNvCxnSpPr/>
            <p:nvPr/>
          </p:nvCxnSpPr>
          <p:spPr>
            <a:xfrm>
              <a:off x="-600" y="54927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ACFDCFA-8871-4375-9DD7-4FC5886280A9}"/>
                </a:ext>
              </a:extLst>
            </p:cNvPr>
            <p:cNvCxnSpPr/>
            <p:nvPr/>
          </p:nvCxnSpPr>
          <p:spPr>
            <a:xfrm>
              <a:off x="-600" y="1072861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BCC4B7F-FEF1-4EA1-831D-C9AA6F5F064E}"/>
                </a:ext>
              </a:extLst>
            </p:cNvPr>
            <p:cNvCxnSpPr/>
            <p:nvPr/>
          </p:nvCxnSpPr>
          <p:spPr>
            <a:xfrm>
              <a:off x="-600" y="1334654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81DCA16-8F73-4630-BDD0-2A70C4A58AB4}"/>
                </a:ext>
              </a:extLst>
            </p:cNvPr>
            <p:cNvCxnSpPr/>
            <p:nvPr/>
          </p:nvCxnSpPr>
          <p:spPr>
            <a:xfrm>
              <a:off x="-600" y="1596447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BC31EB1-B3A4-46CF-BFA4-063B67EE1C0D}"/>
                </a:ext>
              </a:extLst>
            </p:cNvPr>
            <p:cNvCxnSpPr/>
            <p:nvPr/>
          </p:nvCxnSpPr>
          <p:spPr>
            <a:xfrm>
              <a:off x="-600" y="1858240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93E6A85-DDE0-4463-B476-9FA784357023}"/>
                </a:ext>
              </a:extLst>
            </p:cNvPr>
            <p:cNvCxnSpPr/>
            <p:nvPr/>
          </p:nvCxnSpPr>
          <p:spPr>
            <a:xfrm>
              <a:off x="-600" y="2120033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A4D7F3C-5BD5-4AC2-88A1-966E801F5AED}"/>
                </a:ext>
              </a:extLst>
            </p:cNvPr>
            <p:cNvCxnSpPr/>
            <p:nvPr/>
          </p:nvCxnSpPr>
          <p:spPr>
            <a:xfrm>
              <a:off x="-600" y="2381826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2775BB7-F520-4F81-AF6D-F59D1B76F55E}"/>
                </a:ext>
              </a:extLst>
            </p:cNvPr>
            <p:cNvCxnSpPr/>
            <p:nvPr/>
          </p:nvCxnSpPr>
          <p:spPr>
            <a:xfrm>
              <a:off x="-600" y="2643619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CB72474-2AC2-420E-BDB5-E5A722B50684}"/>
                </a:ext>
              </a:extLst>
            </p:cNvPr>
            <p:cNvCxnSpPr/>
            <p:nvPr/>
          </p:nvCxnSpPr>
          <p:spPr>
            <a:xfrm>
              <a:off x="-600" y="2905412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7F88338-30AC-49A0-A5C4-EC7BD34E1FA6}"/>
                </a:ext>
              </a:extLst>
            </p:cNvPr>
            <p:cNvCxnSpPr/>
            <p:nvPr/>
          </p:nvCxnSpPr>
          <p:spPr>
            <a:xfrm>
              <a:off x="-600" y="316720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A4A82DD-B8CC-462B-93E9-CBC87352521F}"/>
                </a:ext>
              </a:extLst>
            </p:cNvPr>
            <p:cNvCxnSpPr/>
            <p:nvPr/>
          </p:nvCxnSpPr>
          <p:spPr>
            <a:xfrm>
              <a:off x="-600" y="342899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086DFAD-90A1-4761-A1F6-2CECC9F3CEB8}"/>
                </a:ext>
              </a:extLst>
            </p:cNvPr>
            <p:cNvCxnSpPr/>
            <p:nvPr/>
          </p:nvCxnSpPr>
          <p:spPr>
            <a:xfrm>
              <a:off x="-600" y="3690791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A73AC16-3E18-48F7-97ED-8B5A48560A3B}"/>
                </a:ext>
              </a:extLst>
            </p:cNvPr>
            <p:cNvCxnSpPr/>
            <p:nvPr/>
          </p:nvCxnSpPr>
          <p:spPr>
            <a:xfrm>
              <a:off x="-600" y="3952584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32B4CC9-D426-40F8-825B-C7E1196189B4}"/>
                </a:ext>
              </a:extLst>
            </p:cNvPr>
            <p:cNvCxnSpPr/>
            <p:nvPr/>
          </p:nvCxnSpPr>
          <p:spPr>
            <a:xfrm>
              <a:off x="-600" y="4214377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9DD5A36E-8435-4B1C-8462-1C956794FC17}"/>
                </a:ext>
              </a:extLst>
            </p:cNvPr>
            <p:cNvCxnSpPr/>
            <p:nvPr/>
          </p:nvCxnSpPr>
          <p:spPr>
            <a:xfrm>
              <a:off x="-600" y="4476170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D85A532-653B-4FD3-A2B9-908071F117D2}"/>
                </a:ext>
              </a:extLst>
            </p:cNvPr>
            <p:cNvCxnSpPr/>
            <p:nvPr/>
          </p:nvCxnSpPr>
          <p:spPr>
            <a:xfrm>
              <a:off x="-600" y="4737963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CDE1136A-6637-439F-89A7-D7F878D15199}"/>
                </a:ext>
              </a:extLst>
            </p:cNvPr>
            <p:cNvCxnSpPr/>
            <p:nvPr/>
          </p:nvCxnSpPr>
          <p:spPr>
            <a:xfrm>
              <a:off x="-600" y="4999756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4A0A4627-9F33-480E-B584-D2625F29AB95}"/>
                </a:ext>
              </a:extLst>
            </p:cNvPr>
            <p:cNvCxnSpPr/>
            <p:nvPr/>
          </p:nvCxnSpPr>
          <p:spPr>
            <a:xfrm>
              <a:off x="-600" y="5261549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49037A92-0EC2-4FBA-A847-8D0F6C45AD99}"/>
                </a:ext>
              </a:extLst>
            </p:cNvPr>
            <p:cNvCxnSpPr/>
            <p:nvPr/>
          </p:nvCxnSpPr>
          <p:spPr>
            <a:xfrm>
              <a:off x="-600" y="5523342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6B45D501-68B8-4FBE-8794-3CDE530B5439}"/>
                </a:ext>
              </a:extLst>
            </p:cNvPr>
            <p:cNvCxnSpPr/>
            <p:nvPr userDrawn="1"/>
          </p:nvCxnSpPr>
          <p:spPr>
            <a:xfrm>
              <a:off x="-600" y="578513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C63DF98-DC31-4B0A-9A94-9B9C493BD0DD}"/>
                </a:ext>
              </a:extLst>
            </p:cNvPr>
            <p:cNvCxnSpPr/>
            <p:nvPr userDrawn="1"/>
          </p:nvCxnSpPr>
          <p:spPr>
            <a:xfrm>
              <a:off x="-600" y="81106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D97F595-E8CD-4823-A296-F9B434149D35}"/>
                </a:ext>
              </a:extLst>
            </p:cNvPr>
            <p:cNvCxnSpPr/>
            <p:nvPr userDrawn="1"/>
          </p:nvCxnSpPr>
          <p:spPr>
            <a:xfrm>
              <a:off x="-600" y="630872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67767E29-78AA-446B-8F14-50FFE81A75D5}"/>
                </a:ext>
              </a:extLst>
            </p:cNvPr>
            <p:cNvCxnSpPr/>
            <p:nvPr userDrawn="1"/>
          </p:nvCxnSpPr>
          <p:spPr>
            <a:xfrm>
              <a:off x="-600" y="604692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Footnote measure">
            <a:extLst>
              <a:ext uri="{FF2B5EF4-FFF2-40B4-BE49-F238E27FC236}">
                <a16:creationId xmlns:a16="http://schemas.microsoft.com/office/drawing/2014/main" id="{FCB67C59-94A5-43D0-98F3-D2DF706BE6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50264" y="6308722"/>
            <a:ext cx="11090873" cy="261799"/>
          </a:xfrm>
          <a:prstGeom prst="rect">
            <a:avLst/>
          </a:prstGeom>
          <a:solidFill>
            <a:srgbClr val="FF0000">
              <a:alpha val="1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Whitespace measure">
            <a:extLst>
              <a:ext uri="{FF2B5EF4-FFF2-40B4-BE49-F238E27FC236}">
                <a16:creationId xmlns:a16="http://schemas.microsoft.com/office/drawing/2014/main" id="{B9FA0CC8-4D85-4377-9762-D979C28385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50864" y="1348222"/>
            <a:ext cx="11105556" cy="509202"/>
          </a:xfrm>
          <a:prstGeom prst="rect">
            <a:avLst/>
          </a:prstGeom>
          <a:solidFill>
            <a:srgbClr val="FF0000">
              <a:alpha val="5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Live area">
            <a:extLst>
              <a:ext uri="{FF2B5EF4-FFF2-40B4-BE49-F238E27FC236}">
                <a16:creationId xmlns:a16="http://schemas.microsoft.com/office/drawing/2014/main" id="{AA787823-C275-4031-9AC7-3513520EE759}"/>
              </a:ext>
            </a:extLst>
          </p:cNvPr>
          <p:cNvSpPr/>
          <p:nvPr userDrawn="1"/>
        </p:nvSpPr>
        <p:spPr>
          <a:xfrm>
            <a:off x="550864" y="2120034"/>
            <a:ext cx="11090275" cy="4188692"/>
          </a:xfrm>
          <a:custGeom>
            <a:avLst/>
            <a:gdLst>
              <a:gd name="connsiteX0" fmla="*/ 0 w 10931999"/>
              <a:gd name="connsiteY0" fmla="*/ 0 h 5537797"/>
              <a:gd name="connsiteX1" fmla="*/ 10931999 w 10931999"/>
              <a:gd name="connsiteY1" fmla="*/ 0 h 5537797"/>
              <a:gd name="connsiteX2" fmla="*/ 10931999 w 10931999"/>
              <a:gd name="connsiteY2" fmla="*/ 5537797 h 5537797"/>
              <a:gd name="connsiteX3" fmla="*/ 0 w 10931999"/>
              <a:gd name="connsiteY3" fmla="*/ 5537797 h 553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31999" h="5537797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>
            <a:solidFill>
              <a:schemeClr val="tx2">
                <a:alpha val="3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1AA03C-D537-4B50-8AA2-DE2B0859A9E0}"/>
              </a:ext>
            </a:extLst>
          </p:cNvPr>
          <p:cNvGrpSpPr/>
          <p:nvPr userDrawn="1"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  <a:solidFill>
            <a:schemeClr val="tx2">
              <a:lumMod val="40000"/>
              <a:lumOff val="60000"/>
              <a:alpha val="10000"/>
            </a:schemeClr>
          </a:solidFill>
        </p:grpSpPr>
        <p:sp>
          <p:nvSpPr>
            <p:cNvPr id="13" name="Rectangle 34">
              <a:extLst>
                <a:ext uri="{FF2B5EF4-FFF2-40B4-BE49-F238E27FC236}">
                  <a16:creationId xmlns:a16="http://schemas.microsoft.com/office/drawing/2014/main" id="{CEBF00D2-4B24-426D-BD4A-087B43FE3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Rectangle 35">
              <a:extLst>
                <a:ext uri="{FF2B5EF4-FFF2-40B4-BE49-F238E27FC236}">
                  <a16:creationId xmlns:a16="http://schemas.microsoft.com/office/drawing/2014/main" id="{6BD82B4A-4BB0-4614-B13C-4CFCC7A22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Rectangle 36">
              <a:extLst>
                <a:ext uri="{FF2B5EF4-FFF2-40B4-BE49-F238E27FC236}">
                  <a16:creationId xmlns:a16="http://schemas.microsoft.com/office/drawing/2014/main" id="{BF9ACD5F-BA8A-4218-BB75-6E90A13EF9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7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Rectangle 37">
              <a:extLst>
                <a:ext uri="{FF2B5EF4-FFF2-40B4-BE49-F238E27FC236}">
                  <a16:creationId xmlns:a16="http://schemas.microsoft.com/office/drawing/2014/main" id="{379A22D2-DA96-41ED-9D9E-1155426DFF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42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Rectangle 38">
              <a:extLst>
                <a:ext uri="{FF2B5EF4-FFF2-40B4-BE49-F238E27FC236}">
                  <a16:creationId xmlns:a16="http://schemas.microsoft.com/office/drawing/2014/main" id="{7EF7963D-A1E1-415D-8969-F027A75D12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Rectangle 39">
              <a:extLst>
                <a:ext uri="{FF2B5EF4-FFF2-40B4-BE49-F238E27FC236}">
                  <a16:creationId xmlns:a16="http://schemas.microsoft.com/office/drawing/2014/main" id="{BBE34D05-AF10-4FE9-A201-F9E2A8027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2839" y="549274"/>
              <a:ext cx="288000" cy="5759450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Rectangle 40">
              <a:extLst>
                <a:ext uri="{FF2B5EF4-FFF2-40B4-BE49-F238E27FC236}">
                  <a16:creationId xmlns:a16="http://schemas.microsoft.com/office/drawing/2014/main" id="{349BF860-A8A0-4AB9-B299-1AF824195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Rectangle 41">
              <a:extLst>
                <a:ext uri="{FF2B5EF4-FFF2-40B4-BE49-F238E27FC236}">
                  <a16:creationId xmlns:a16="http://schemas.microsoft.com/office/drawing/2014/main" id="{3E2A80A6-61F6-4E58-B43B-059CCD29C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2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Rectangle 42">
              <a:extLst>
                <a:ext uri="{FF2B5EF4-FFF2-40B4-BE49-F238E27FC236}">
                  <a16:creationId xmlns:a16="http://schemas.microsoft.com/office/drawing/2014/main" id="{0F927BDE-7613-4A1B-9405-C18A0AA02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Rectangle 43">
              <a:extLst>
                <a:ext uri="{FF2B5EF4-FFF2-40B4-BE49-F238E27FC236}">
                  <a16:creationId xmlns:a16="http://schemas.microsoft.com/office/drawing/2014/main" id="{9D0BF9DE-3D09-432F-B97F-D68AFE1C7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7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Rectangle 44">
              <a:extLst>
                <a:ext uri="{FF2B5EF4-FFF2-40B4-BE49-F238E27FC236}">
                  <a16:creationId xmlns:a16="http://schemas.microsoft.com/office/drawing/2014/main" id="{7807AD9B-3A59-4121-9F68-FB858FD6D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47" name="Footnote example">
            <a:extLst>
              <a:ext uri="{FF2B5EF4-FFF2-40B4-BE49-F238E27FC236}">
                <a16:creationId xmlns:a16="http://schemas.microsoft.com/office/drawing/2014/main" id="{DBF27226-1CAE-4EC3-B7C2-CD7BFF212B2F}"/>
              </a:ext>
            </a:extLst>
          </p:cNvPr>
          <p:cNvSpPr txBox="1"/>
          <p:nvPr userDrawn="1"/>
        </p:nvSpPr>
        <p:spPr>
          <a:xfrm>
            <a:off x="550863" y="6310249"/>
            <a:ext cx="9030915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Footnotes/Notes</a:t>
            </a:r>
          </a:p>
          <a:p>
            <a:pPr marL="0" marR="0" lvl="0" indent="0" algn="l" defTabSz="914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Source: Include a source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491C5D-1CCA-4AD2-960D-E2D2520D37E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490154" y="6450226"/>
            <a:ext cx="150682" cy="15388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2547BBBC-05CB-49BC-A9CC-2D869F0C1D2C}" type="slidenum">
              <a:rPr lang="en-IN" smtClean="0"/>
              <a:pPr/>
              <a:t>‹#›</a:t>
            </a:fld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A5092CC-99B7-42FA-B922-D9A469AA61A3}"/>
              </a:ext>
            </a:extLst>
          </p:cNvPr>
          <p:cNvGrpSpPr/>
          <p:nvPr userDrawn="1"/>
        </p:nvGrpSpPr>
        <p:grpSpPr>
          <a:xfrm>
            <a:off x="550864" y="6156604"/>
            <a:ext cx="11089971" cy="55199"/>
            <a:chOff x="550864" y="6156603"/>
            <a:chExt cx="11089971" cy="55199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7D78F6B-68EA-4677-8270-E6CE44B4A9DC}"/>
                </a:ext>
              </a:extLst>
            </p:cNvPr>
            <p:cNvSpPr/>
            <p:nvPr userDrawn="1"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6E6D155-C668-4620-947B-CD6756DB3E3F}"/>
                </a:ext>
              </a:extLst>
            </p:cNvPr>
            <p:cNvSpPr/>
            <p:nvPr userDrawn="1"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3A33606-AE46-4272-A076-D6F1DEF2BE14}"/>
                </a:ext>
              </a:extLst>
            </p:cNvPr>
            <p:cNvSpPr/>
            <p:nvPr userDrawn="1"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7AF00D4-2C2C-4B64-AC48-30E76E740B68}"/>
                </a:ext>
              </a:extLst>
            </p:cNvPr>
            <p:cNvSpPr/>
            <p:nvPr userDrawn="1"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53F07A3-100A-4285-8103-25EB4F518B92}"/>
                </a:ext>
              </a:extLst>
            </p:cNvPr>
            <p:cNvSpPr/>
            <p:nvPr userDrawn="1"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C3F2152-358B-4AF4-9E4C-FFC021458588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EE3E2D1-AA6B-4858-AEA5-CA4E153942A1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8F01DC23-2710-4E23-8ECF-D42A01049798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625F897C-F6DC-43F6-83A9-103566BB7B1A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297483D6-4F68-4046-9938-3975F46B128B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0260B8F-626E-4F6C-82D6-73BBB93D898A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C8041FBB-4E11-4186-939C-922BB885CE7F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B9D46F4-06A5-41BD-A370-19C37CA28B53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B4380E05-CB91-42D7-A593-68D7E79B69EF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D399139-04A8-4906-A0E9-F32ED37B1DB5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E2C3744-960D-4FE8-A425-0A1BCCBFDCE3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656CA51-5E36-4B65-AAB5-604B2FFF1CA6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BEF9EA6-DC0A-4745-950A-75EB35C11A83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C185182D-9507-4706-B5C3-7D60904B8C41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DC967172-2751-4E17-ACEB-B9AC16A1C8EE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B1C13260-A832-4897-8C2A-B004FA9AB5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59" name="Copyright">
              <a:extLst>
                <a:ext uri="{FF2B5EF4-FFF2-40B4-BE49-F238E27FC236}">
                  <a16:creationId xmlns:a16="http://schemas.microsoft.com/office/drawing/2014/main" id="{4E29D673-EFE2-4CE9-96D3-54B928054039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9679ACBB-550D-47A2-9ADD-A6C09F32A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9"/>
            <a:ext cx="11089972" cy="44318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IN"/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A9FA602-B0B9-4981-B1E1-9FFC8BD86320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064375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ue Layout" preserve="1">
  <p:cSld name="Blue Layou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8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2" tIns="45699" rIns="91422" bIns="45699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0" name="Google Shape;50;p83"/>
          <p:cNvGrpSpPr/>
          <p:nvPr/>
        </p:nvGrpSpPr>
        <p:grpSpPr>
          <a:xfrm>
            <a:off x="11998459" y="6162189"/>
            <a:ext cx="68500" cy="441925"/>
            <a:chOff x="11998459" y="6162188"/>
            <a:chExt cx="68500" cy="441925"/>
          </a:xfrm>
        </p:grpSpPr>
        <p:sp>
          <p:nvSpPr>
            <p:cNvPr id="51" name="Google Shape;51;p83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83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83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83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83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83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83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83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83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83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83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62;p83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63;p83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" name="Google Shape;64;p83"/>
          <p:cNvSpPr txBox="1"/>
          <p:nvPr/>
        </p:nvSpPr>
        <p:spPr>
          <a:xfrm rot="-5400000">
            <a:off x="11250972" y="5290632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0" dirty="0"/>
          </a:p>
        </p:txBody>
      </p:sp>
      <p:sp>
        <p:nvSpPr>
          <p:cNvPr id="65" name="Google Shape;65;p83"/>
          <p:cNvSpPr txBox="1">
            <a:spLocks noGrp="1"/>
          </p:cNvSpPr>
          <p:nvPr>
            <p:ph type="ftr" idx="11"/>
          </p:nvPr>
        </p:nvSpPr>
        <p:spPr>
          <a:xfrm>
            <a:off x="550863" y="6429937"/>
            <a:ext cx="955390" cy="1538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83"/>
          <p:cNvSpPr txBox="1">
            <a:spLocks noGrp="1"/>
          </p:cNvSpPr>
          <p:nvPr>
            <p:ph type="sldNum" idx="12"/>
          </p:nvPr>
        </p:nvSpPr>
        <p:spPr>
          <a:xfrm>
            <a:off x="11490154" y="6465614"/>
            <a:ext cx="150682" cy="1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3313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Lef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517025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8FBABF1-7718-43F6-B247-8269F95D22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5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8429EF-F441-3040-BB9E-07E66E2B2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142" y="2546064"/>
            <a:ext cx="3032465" cy="176586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45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E6F1C9-C479-4E50-B466-BBB81EB0E1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9437425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Blu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57473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AAE3F72-88DF-4B4D-99C2-2DFE1EFB16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6098537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7F38A5-E451-48CD-9B09-4D22AB98C6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923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2586D8-6C60-41B6-B276-7BF701FEA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5163309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076148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882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148355-9A23-4C82-8F0E-F21594843C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1F99190-1A65-41A8-BBA7-98BD441A8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50D61507-3612-4ECE-96B7-0F9C15D342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CE9086E-00AC-4525-B7C4-F51B01FEA197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F2864F8-CE03-42D9-A1C6-49C13A90928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DDB86A9-D96F-4924-9B1A-50C360C15742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86074501-3762-407F-A74D-3799FEAFBD37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3D29F00-385D-4638-BD08-A8B98A323401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E2A3DD6C-1362-40F5-A7B3-2E963C5D94FF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6616E241-6E09-4071-B657-CE4E7BB5CD37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6A9939C2-C1A3-49F7-A69F-F2E83814F06B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C6484D2-FDEB-453B-ACAB-605BDF0437F1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E626162E-D8C5-4F77-A6A1-E2B6C7CABFC3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6446D18-F2A6-4A1D-9193-2C1738C1053D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6A74D8F-C94B-4FE0-9FED-86918ACD7711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FE130351-367D-46DC-AEF2-11BF681D6F21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1295B187-375A-4BC1-8930-8B6FB7B25415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987C9E7-CE53-4EC9-8C60-48477925BADC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9" name="Copyright">
              <a:extLst>
                <a:ext uri="{FF2B5EF4-FFF2-40B4-BE49-F238E27FC236}">
                  <a16:creationId xmlns:a16="http://schemas.microsoft.com/office/drawing/2014/main" id="{7F3EFBBF-8F6E-4F95-970D-289D95FB3EDE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2446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2521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 descr="A person holding a phone&#10;&#10;Description automatically generated with low confidence">
            <a:extLst>
              <a:ext uri="{FF2B5EF4-FFF2-40B4-BE49-F238E27FC236}">
                <a16:creationId xmlns:a16="http://schemas.microsoft.com/office/drawing/2014/main" id="{E6014E73-E918-7E3B-1116-0A79F39C8C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22" t="-1" r="21590"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0270E3B-760C-41F0-B9D6-A2E014047679}"/>
              </a:ext>
            </a:extLst>
          </p:cNvPr>
          <p:cNvSpPr/>
          <p:nvPr userDrawn="1"/>
        </p:nvSpPr>
        <p:spPr>
          <a:xfrm>
            <a:off x="536449" y="0"/>
            <a:ext cx="6363291" cy="147521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45000">
                <a:schemeClr val="tx2">
                  <a:lumMod val="50000"/>
                  <a:alpha val="90000"/>
                </a:schemeClr>
              </a:gs>
              <a:gs pos="100000">
                <a:schemeClr val="tx2">
                  <a:lumMod val="75000"/>
                  <a:alpha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CEEA00B-DE05-BC01-6E87-AC9F343D546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5582" y="172909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C7EB34-6497-4D19-B99E-5F4D7F924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1844677"/>
            <a:ext cx="6363291" cy="501332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b="0" cap="none" baseline="0" dirty="0">
                <a:solidFill>
                  <a:schemeClr val="bg1"/>
                </a:solidFill>
                <a:latin typeface="Franklin Gothic Demi" panose="020B07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  <a:endParaRPr lang="en-US" dirty="0"/>
          </a:p>
        </p:txBody>
      </p:sp>
      <p:grpSp>
        <p:nvGrpSpPr>
          <p:cNvPr id="7" name="Google Shape;36;p40">
            <a:extLst>
              <a:ext uri="{FF2B5EF4-FFF2-40B4-BE49-F238E27FC236}">
                <a16:creationId xmlns:a16="http://schemas.microsoft.com/office/drawing/2014/main" id="{71CB15B7-864A-9DC1-657D-C5E29829C0C4}"/>
              </a:ext>
            </a:extLst>
          </p:cNvPr>
          <p:cNvGrpSpPr/>
          <p:nvPr userDrawn="1"/>
        </p:nvGrpSpPr>
        <p:grpSpPr>
          <a:xfrm>
            <a:off x="11998460" y="6162190"/>
            <a:ext cx="68500" cy="441924"/>
            <a:chOff x="11998459" y="6162188"/>
            <a:chExt cx="68500" cy="441925"/>
          </a:xfrm>
        </p:grpSpPr>
        <p:sp>
          <p:nvSpPr>
            <p:cNvPr id="8" name="Google Shape;37;p40">
              <a:extLst>
                <a:ext uri="{FF2B5EF4-FFF2-40B4-BE49-F238E27FC236}">
                  <a16:creationId xmlns:a16="http://schemas.microsoft.com/office/drawing/2014/main" id="{EA80B92E-3B36-97BC-4D57-7347B591B62F}"/>
                </a:ext>
              </a:extLst>
            </p:cNvPr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8;p40">
              <a:extLst>
                <a:ext uri="{FF2B5EF4-FFF2-40B4-BE49-F238E27FC236}">
                  <a16:creationId xmlns:a16="http://schemas.microsoft.com/office/drawing/2014/main" id="{4995F9A6-17AD-A39B-8EA7-0DE7FBFF28FE}"/>
                </a:ext>
              </a:extLst>
            </p:cNvPr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9;p40">
              <a:extLst>
                <a:ext uri="{FF2B5EF4-FFF2-40B4-BE49-F238E27FC236}">
                  <a16:creationId xmlns:a16="http://schemas.microsoft.com/office/drawing/2014/main" id="{34E53C25-2166-CAC6-9E8F-A0BE178603EB}"/>
                </a:ext>
              </a:extLst>
            </p:cNvPr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40;p40">
              <a:extLst>
                <a:ext uri="{FF2B5EF4-FFF2-40B4-BE49-F238E27FC236}">
                  <a16:creationId xmlns:a16="http://schemas.microsoft.com/office/drawing/2014/main" id="{5B114610-DBFE-CDA2-3B7A-F0C2EE7DB0A5}"/>
                </a:ext>
              </a:extLst>
            </p:cNvPr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41;p40">
              <a:extLst>
                <a:ext uri="{FF2B5EF4-FFF2-40B4-BE49-F238E27FC236}">
                  <a16:creationId xmlns:a16="http://schemas.microsoft.com/office/drawing/2014/main" id="{7D0C0229-5440-8189-5503-5D9E544B57CA}"/>
                </a:ext>
              </a:extLst>
            </p:cNvPr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42;p40">
              <a:extLst>
                <a:ext uri="{FF2B5EF4-FFF2-40B4-BE49-F238E27FC236}">
                  <a16:creationId xmlns:a16="http://schemas.microsoft.com/office/drawing/2014/main" id="{FC619FBD-843D-EBA5-67AB-147D3A892EE3}"/>
                </a:ext>
              </a:extLst>
            </p:cNvPr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43;p40">
              <a:extLst>
                <a:ext uri="{FF2B5EF4-FFF2-40B4-BE49-F238E27FC236}">
                  <a16:creationId xmlns:a16="http://schemas.microsoft.com/office/drawing/2014/main" id="{CCC34957-9A7C-0763-8B57-5A07BF04DFF2}"/>
                </a:ext>
              </a:extLst>
            </p:cNvPr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44;p40">
              <a:extLst>
                <a:ext uri="{FF2B5EF4-FFF2-40B4-BE49-F238E27FC236}">
                  <a16:creationId xmlns:a16="http://schemas.microsoft.com/office/drawing/2014/main" id="{AFA1F52E-53BE-E294-409A-0652228C6A15}"/>
                </a:ext>
              </a:extLst>
            </p:cNvPr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45;p40">
              <a:extLst>
                <a:ext uri="{FF2B5EF4-FFF2-40B4-BE49-F238E27FC236}">
                  <a16:creationId xmlns:a16="http://schemas.microsoft.com/office/drawing/2014/main" id="{E3E692E2-49D9-5C5D-0473-3946E393C3DF}"/>
                </a:ext>
              </a:extLst>
            </p:cNvPr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46;p40">
              <a:extLst>
                <a:ext uri="{FF2B5EF4-FFF2-40B4-BE49-F238E27FC236}">
                  <a16:creationId xmlns:a16="http://schemas.microsoft.com/office/drawing/2014/main" id="{3184E9C6-3ECC-49EC-2BCB-E2FD9A3F5F76}"/>
                </a:ext>
              </a:extLst>
            </p:cNvPr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47;p40">
              <a:extLst>
                <a:ext uri="{FF2B5EF4-FFF2-40B4-BE49-F238E27FC236}">
                  <a16:creationId xmlns:a16="http://schemas.microsoft.com/office/drawing/2014/main" id="{44E2B659-1506-7949-0B17-5E4459601EB9}"/>
                </a:ext>
              </a:extLst>
            </p:cNvPr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48;p40">
              <a:extLst>
                <a:ext uri="{FF2B5EF4-FFF2-40B4-BE49-F238E27FC236}">
                  <a16:creationId xmlns:a16="http://schemas.microsoft.com/office/drawing/2014/main" id="{CC6ED06C-97E6-48AB-E9A5-1D80DD743E7B}"/>
                </a:ext>
              </a:extLst>
            </p:cNvPr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49;p40">
              <a:extLst>
                <a:ext uri="{FF2B5EF4-FFF2-40B4-BE49-F238E27FC236}">
                  <a16:creationId xmlns:a16="http://schemas.microsoft.com/office/drawing/2014/main" id="{2820FE41-EED0-281E-DD24-13E298BB539A}"/>
                </a:ext>
              </a:extLst>
            </p:cNvPr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" name="Google Shape;50;p40">
            <a:extLst>
              <a:ext uri="{FF2B5EF4-FFF2-40B4-BE49-F238E27FC236}">
                <a16:creationId xmlns:a16="http://schemas.microsoft.com/office/drawing/2014/main" id="{0CE85B7A-8B69-DC97-F849-280347C23F9A}"/>
              </a:ext>
            </a:extLst>
          </p:cNvPr>
          <p:cNvSpPr txBox="1"/>
          <p:nvPr userDrawn="1"/>
        </p:nvSpPr>
        <p:spPr>
          <a:xfrm rot="-5400000">
            <a:off x="11250972" y="5290634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IN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1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773010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G (with 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08331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148355-9A23-4C82-8F0E-F21594843C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C27F5F1-6E1A-43D9-B04D-DEEBA03354E7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3878A702-A86E-4356-99F5-6CC007B3A84C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75A2218-59DA-4B99-8DEE-5DF1044A636F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E8F166A-EB8B-4235-A114-5C9D062319D5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2FC6C6B-C81D-4FE7-9F3B-65F6B734168D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8EBE5-A780-49FB-9EAB-A8F48E23FAC5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ADB921C-741F-494D-9C24-2E06B3F237E1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2CBAA18-CC04-464C-B2DA-F60F1DFE63B3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7D25102-BF68-4480-830D-1A1BE174C734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EE8638F-0CD8-4C03-9847-FAF25CBB620A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481A8A-8F5D-40BC-B59F-D4CEF2254BB7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50965BC-1532-45A0-8F0A-37DAEC7BBE6F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C1AF2FC-06E9-481D-AAD4-A185594C60F4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1342B2-AEC9-4B66-9503-4CFC2ED0B897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41AC723-9EBC-48CA-B1C7-D2D5419421B0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4" name="Copyright">
            <a:extLst>
              <a:ext uri="{FF2B5EF4-FFF2-40B4-BE49-F238E27FC236}">
                <a16:creationId xmlns:a16="http://schemas.microsoft.com/office/drawing/2014/main" id="{2B7A128F-26DE-473C-95DA-CCAF4D373141}"/>
              </a:ext>
            </a:extLst>
          </p:cNvPr>
          <p:cNvSpPr txBox="1"/>
          <p:nvPr userDrawn="1"/>
        </p:nvSpPr>
        <p:spPr>
          <a:xfrm rot="16200000">
            <a:off x="11250972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. All rights reserved.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1F99190-1A65-41A8-BBA7-98BD441A8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50D61507-3612-4ECE-96B7-0F9C15D342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EDF673-966E-4DCD-9A9F-89CC749ED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18576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694632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84101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E2B9A3-0AB0-4FA9-BE30-99B8A88EB1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8134763" y="-1"/>
            <a:ext cx="4059776" cy="6858001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454" y="6445295"/>
            <a:ext cx="15068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7BD8F9-1D4E-4291-8770-E69192472F2F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767490F9-4012-46F8-ABED-EB2AEB970D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BFAF012-FF52-4660-B1EB-E3DAD4E5D0D9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63A8AA3-AFD6-4F1D-95AB-D3C5F7E6A748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81A09B8-B6D7-496D-AC8E-E2CC99E1F047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77B1E538-1876-4C5E-8612-52D93329CC93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BEB775BB-2E5F-4B32-9B48-8DE1DD506FB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DF313EF-4694-4121-BF30-C1139E1F9D1C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F3BB4C7-5441-4DAF-B428-07833129A3C4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ADF2282-0F9C-41BD-8919-3F118F7AFA19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07EBF3C-B087-4F18-8637-DB3F73785049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FE95DEE8-DE4E-456F-B56B-0D9C34409112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34E317DF-5709-4B5E-A764-DBE2AC16DCAC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ABAA8A11-8055-4872-829E-9B4ACFB0448C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F3D0752F-4BE1-4DEA-9A91-C12628B9D905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27F6B00-C84C-430B-B7C2-DFB7384C7332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C86C1E6A-A2B0-4B52-82F6-EA7C2BB679FC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7" name="Copyright">
              <a:extLst>
                <a:ext uri="{FF2B5EF4-FFF2-40B4-BE49-F238E27FC236}">
                  <a16:creationId xmlns:a16="http://schemas.microsoft.com/office/drawing/2014/main" id="{6F9ADEBF-B227-47BA-9FFB-3881EE358DB3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D6CAC9C2-9DC0-4151-8814-3516E0ADB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7061683" cy="42229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732059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Blu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811140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C2C367-8056-426B-81B2-4B2C7238E5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6096000" y="-1"/>
            <a:ext cx="6098539" cy="6858001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454" y="6445295"/>
            <a:ext cx="15068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8C5468B-3210-455B-960F-ACC92937B434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D9F423ED-15C9-4DBA-A5CC-A74A55A44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623CBF1-457C-4491-90EE-6DE3BD9C2B8C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C5D61D5-4D53-4B2F-830C-7C2D09806F8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1E4918B8-A176-47C4-9264-39A91C78CD7E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3201241E-6654-4B58-A757-746A35947F4F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AC0D2E0D-CECA-462E-BAF3-CF92D72544E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A50CAD15-5BF3-4472-BDB9-3E3E4742DD64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C3511C1-3179-44B4-BB52-D2B10DA8A6E2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7DD1BCC-9230-417B-A5CC-E1D3F6F61041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7A77373-FE9B-46C2-BEB4-F8B0A94BD53E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CB8ABB54-E991-461F-9791-D895B90E6700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773B4D2-2297-4AFE-A952-85F190728CC5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E052044D-7360-4930-ACEF-75B0996C9E40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78EE721A-1842-4613-97C0-83F42E192EFE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E04EC6AA-4D0D-4D6B-A317-D59028CD1190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33B47ABB-E212-4C3A-93F4-8ECF298B2F14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8" name="Copyright">
              <a:extLst>
                <a:ext uri="{FF2B5EF4-FFF2-40B4-BE49-F238E27FC236}">
                  <a16:creationId xmlns:a16="http://schemas.microsoft.com/office/drawing/2014/main" id="{63A391B4-F2D4-4CEA-BB2D-6FE9C17F564E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93E1D190-1D55-4D58-B05F-8B0C78FE1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5123552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598992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er Slide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38369F-F8B4-42F9-9E33-ED43D3902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811257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38369F-F8B4-42F9-9E33-ED43D3902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6F88BD-D39D-4B55-A16B-68F5F7E3D6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9A2C76-32EA-4992-A965-D9260A5D160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82E60DA-1F02-9A45-8CE9-6CC78A3380F0}"/>
              </a:ext>
            </a:extLst>
          </p:cNvPr>
          <p:cNvSpPr/>
          <p:nvPr userDrawn="1"/>
        </p:nvSpPr>
        <p:spPr>
          <a:xfrm>
            <a:off x="1" y="0"/>
            <a:ext cx="2682587" cy="6858000"/>
          </a:xfrm>
          <a:prstGeom prst="rect">
            <a:avLst/>
          </a:prstGeom>
          <a:solidFill>
            <a:schemeClr val="bg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93BD1C-9237-8249-950A-62A7C86034D0}"/>
              </a:ext>
            </a:extLst>
          </p:cNvPr>
          <p:cNvSpPr/>
          <p:nvPr userDrawn="1"/>
        </p:nvSpPr>
        <p:spPr>
          <a:xfrm>
            <a:off x="1" y="3700464"/>
            <a:ext cx="9412014" cy="241458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410CA7A-4558-C443-9C75-2C8E863B7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592" y="4108436"/>
            <a:ext cx="8494899" cy="1569660"/>
          </a:xfrm>
          <a:effectLst>
            <a:outerShdw blurRad="1905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80000"/>
              </a:lnSpc>
              <a:defRPr lang="en-US" sz="60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A4D7170-2B51-4AFC-B047-0F5B3A69E471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DD1615D-0D55-4B48-87A2-0F30A4E3D8E7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C8D3D7F-D19B-49DE-9CB3-221A0639516B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30BC6AD-EFFB-4263-A0EB-5A8265D4385C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341753F-E8F7-47E2-8A08-516073C6B573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3E2B82A-AA52-459B-A885-2C9E46A7CA08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DCD4539-FE2A-4741-BBEF-2BADE6F5B99D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3FB79E5-53C4-46E5-AAF3-BCDBDA5A2D1D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09CEBDE-5D0C-41B5-85C2-CBC9DA810EFB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887E364-69C8-42A1-811A-4726514CBCE3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8A0E0BB-B67F-4B6F-A66E-3D42CC14F9E7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97C39D0-A99F-467C-9FAD-1FEC939449C9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B512C9A-2B27-4460-B3C8-AA6460E8DA65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A1FA1F5-B76B-4B98-99DC-DD1D17B7F23E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7" name="Copyright">
            <a:extLst>
              <a:ext uri="{FF2B5EF4-FFF2-40B4-BE49-F238E27FC236}">
                <a16:creationId xmlns:a16="http://schemas.microsoft.com/office/drawing/2014/main" id="{EB60B0AE-F9C0-4FBF-9FE6-F8CE2ED57C40}"/>
              </a:ext>
            </a:extLst>
          </p:cNvPr>
          <p:cNvSpPr txBox="1"/>
          <p:nvPr userDrawn="1"/>
        </p:nvSpPr>
        <p:spPr>
          <a:xfrm rot="16200000">
            <a:off x="11250972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. All rights reserved.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B037CC6-E5CE-4CBE-B183-A4AF78E15E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3661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_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38369F-F8B4-42F9-9E33-ED43D3902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57384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38369F-F8B4-42F9-9E33-ED43D3902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6F88BD-D39D-4B55-A16B-68F5F7E3D6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E076F7-2F5B-46F9-A7D4-BCD4A1BF4FB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grayscl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5571307-B5A1-49FA-8B2A-10157FD7593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55000">
                <a:schemeClr val="tx2">
                  <a:lumMod val="75000"/>
                  <a:alpha val="90000"/>
                </a:schemeClr>
              </a:gs>
              <a:gs pos="85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410CA7A-4558-C443-9C75-2C8E863B7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effectLst>
            <a:outerShdw blurRad="1905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80000"/>
              </a:lnSpc>
              <a:defRPr lang="en-US" sz="60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B037CC6-E5CE-4CBE-B183-A4AF78E15E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B1B01B0-505C-4864-BC9B-FBCE18D02D9C}"/>
              </a:ext>
            </a:extLst>
          </p:cNvPr>
          <p:cNvCxnSpPr>
            <a:cxnSpLocks/>
          </p:cNvCxnSpPr>
          <p:nvPr userDrawn="1"/>
        </p:nvCxnSpPr>
        <p:spPr>
          <a:xfrm>
            <a:off x="992389" y="5712304"/>
            <a:ext cx="154246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5DDDC21-5EC0-4BC6-A759-2D861F3A42C0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6CE34071-C191-4EA0-879B-938D0D7FB2DC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86C589D3-2A68-47B4-A186-DCD2A83FCFC8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BB41610-46EC-428B-835A-19794F87B288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335B418E-1CF7-49D6-9410-F4E0F9CA8FD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75874F1C-8BBD-43D9-9576-2326771CDA5E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41BF7ED0-D40C-414C-A361-03E0EC0CA1B8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0A1FE6F-2C49-4E56-BBB6-F7F2308FE7A5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8FE97711-BCB1-4A87-B444-FE49A24C954C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C90751F-BC28-4C38-9AEE-4FE522001DE3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4759EB0F-4722-48F9-98B5-35600B2F5F54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1E9ED425-DEE8-4FE5-B40D-E5D7FC3B173C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6FED47B5-7813-41FF-82AD-062C1EBA79EB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3412D8B3-B39C-4308-9921-278312CC9BDA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279E12B4-9493-4742-A8EB-9E495955EF01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34" name="Copyright">
              <a:extLst>
                <a:ext uri="{FF2B5EF4-FFF2-40B4-BE49-F238E27FC236}">
                  <a16:creationId xmlns:a16="http://schemas.microsoft.com/office/drawing/2014/main" id="{063EE5AF-0F23-4E4D-946B-2EF723C73A98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09267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02073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3E76732-5A5F-B03D-320E-52CD6F1CBCF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43457" y="2592164"/>
            <a:ext cx="4386551" cy="164023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106A152-DC8B-0C47-8CFD-D99759D28F81}"/>
              </a:ext>
            </a:extLst>
          </p:cNvPr>
          <p:cNvSpPr txBox="1"/>
          <p:nvPr userDrawn="1"/>
        </p:nvSpPr>
        <p:spPr>
          <a:xfrm>
            <a:off x="550863" y="5965461"/>
            <a:ext cx="302948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1" i="0" u="none" dirty="0">
                <a:solidFill>
                  <a:schemeClr val="accent3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  <a:sym typeface="Calibri" panose="020F0502020204030204" pitchFamily="34" charset="0"/>
              </a:rPr>
              <a:t>www.infomineo.com</a:t>
            </a:r>
          </a:p>
          <a:p>
            <a:pPr algn="l"/>
            <a:r>
              <a:rPr lang="en-GB" sz="1200" b="0" i="0" dirty="0">
                <a:solidFill>
                  <a:schemeClr val="bg1"/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  <a:sym typeface="Calibri" panose="020F0502020204030204" pitchFamily="34" charset="0"/>
              </a:rPr>
              <a:t>Infomineo Copyright © 2023. All rights reserved.</a:t>
            </a:r>
          </a:p>
        </p:txBody>
      </p:sp>
      <p:pic>
        <p:nvPicPr>
          <p:cNvPr id="30" name="Picture 29">
            <a:hlinkClick r:id="rId7"/>
            <a:extLst>
              <a:ext uri="{FF2B5EF4-FFF2-40B4-BE49-F238E27FC236}">
                <a16:creationId xmlns:a16="http://schemas.microsoft.com/office/drawing/2014/main" id="{3ED467EF-C028-4376-B7C8-A8830D77CF7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3329" y="5965461"/>
            <a:ext cx="370332" cy="370332"/>
          </a:xfrm>
          <a:prstGeom prst="rect">
            <a:avLst/>
          </a:prstGeom>
        </p:spPr>
      </p:pic>
      <p:pic>
        <p:nvPicPr>
          <p:cNvPr id="32" name="Picture 31">
            <a:hlinkClick r:id="rId9"/>
            <a:extLst>
              <a:ext uri="{FF2B5EF4-FFF2-40B4-BE49-F238E27FC236}">
                <a16:creationId xmlns:a16="http://schemas.microsoft.com/office/drawing/2014/main" id="{3BF2889F-2FC0-49EE-9DAD-8868FC3BE52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965" y="5965461"/>
            <a:ext cx="368808" cy="370332"/>
          </a:xfrm>
          <a:prstGeom prst="rect">
            <a:avLst/>
          </a:prstGeom>
        </p:spPr>
      </p:pic>
      <p:pic>
        <p:nvPicPr>
          <p:cNvPr id="34" name="Picture 33">
            <a:hlinkClick r:id="rId11"/>
            <a:extLst>
              <a:ext uri="{FF2B5EF4-FFF2-40B4-BE49-F238E27FC236}">
                <a16:creationId xmlns:a16="http://schemas.microsoft.com/office/drawing/2014/main" id="{96507CF0-D683-43B8-9352-634205E2EC2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8600" y="5965461"/>
            <a:ext cx="368808" cy="37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0726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>
            <a:extLst>
              <a:ext uri="{FF2B5EF4-FFF2-40B4-BE49-F238E27FC236}">
                <a16:creationId xmlns:a16="http://schemas.microsoft.com/office/drawing/2014/main" id="{C7E8C095-69F2-4BC8-964E-A1BFE9309E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833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9" name="Object 48" hidden="1">
                        <a:extLst>
                          <a:ext uri="{FF2B5EF4-FFF2-40B4-BE49-F238E27FC236}">
                            <a16:creationId xmlns:a16="http://schemas.microsoft.com/office/drawing/2014/main" id="{C7E8C095-69F2-4BC8-964E-A1BFE9309E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5F11C0-1445-4182-AF87-C63E0DB6C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7" name="Freeform: Shape 95">
            <a:extLst>
              <a:ext uri="{FF2B5EF4-FFF2-40B4-BE49-F238E27FC236}">
                <a16:creationId xmlns:a16="http://schemas.microsoft.com/office/drawing/2014/main" id="{E5A08834-247C-4C9E-93E7-8514C051C060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566584 w 12193200"/>
              <a:gd name="connsiteY0" fmla="*/ 549276 h 6858000"/>
              <a:gd name="connsiteX1" fmla="*/ 566584 w 12193200"/>
              <a:gd name="connsiteY1" fmla="*/ 6308726 h 6858000"/>
              <a:gd name="connsiteX2" fmla="*/ 11641138 w 12193200"/>
              <a:gd name="connsiteY2" fmla="*/ 6308726 h 6858000"/>
              <a:gd name="connsiteX3" fmla="*/ 11641138 w 12193200"/>
              <a:gd name="connsiteY3" fmla="*/ 549276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22800 h 6858000"/>
              <a:gd name="connsiteX7" fmla="*/ 12192000 w 12193200"/>
              <a:gd name="connsiteY7" fmla="*/ 622800 h 6858000"/>
              <a:gd name="connsiteX8" fmla="*/ 12192000 w 12193200"/>
              <a:gd name="connsiteY8" fmla="*/ 6160597 h 6858000"/>
              <a:gd name="connsiteX9" fmla="*/ 12193200 w 12193200"/>
              <a:gd name="connsiteY9" fmla="*/ 6160597 h 6858000"/>
              <a:gd name="connsiteX10" fmla="*/ 12193200 w 12193200"/>
              <a:gd name="connsiteY10" fmla="*/ 6858000 h 6858000"/>
              <a:gd name="connsiteX11" fmla="*/ 12192000 w 12193200"/>
              <a:gd name="connsiteY11" fmla="*/ 6858000 h 6858000"/>
              <a:gd name="connsiteX12" fmla="*/ 11562000 w 12193200"/>
              <a:gd name="connsiteY12" fmla="*/ 6858000 h 6858000"/>
              <a:gd name="connsiteX13" fmla="*/ 630001 w 12193200"/>
              <a:gd name="connsiteY13" fmla="*/ 6858000 h 6858000"/>
              <a:gd name="connsiteX14" fmla="*/ 1 w 12193200"/>
              <a:gd name="connsiteY14" fmla="*/ 6858000 h 6858000"/>
              <a:gd name="connsiteX15" fmla="*/ 1 w 12193200"/>
              <a:gd name="connsiteY15" fmla="*/ 6160597 h 6858000"/>
              <a:gd name="connsiteX16" fmla="*/ 1 w 12193200"/>
              <a:gd name="connsiteY16" fmla="*/ 622800 h 6858000"/>
              <a:gd name="connsiteX17" fmla="*/ 0 w 12193200"/>
              <a:gd name="connsiteY17" fmla="*/ 622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3200" h="685800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5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59B0D14-7DD8-45E2-B968-99300FF0D28D}"/>
              </a:ext>
            </a:extLst>
          </p:cNvPr>
          <p:cNvGrpSpPr/>
          <p:nvPr userDrawn="1"/>
        </p:nvGrpSpPr>
        <p:grpSpPr>
          <a:xfrm>
            <a:off x="-600" y="549275"/>
            <a:ext cx="12193200" cy="5759450"/>
            <a:chOff x="-600" y="549275"/>
            <a:chExt cx="12193200" cy="5759450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FD9771C-C32F-443B-97DA-AB808B787FCB}"/>
                </a:ext>
              </a:extLst>
            </p:cNvPr>
            <p:cNvCxnSpPr/>
            <p:nvPr/>
          </p:nvCxnSpPr>
          <p:spPr>
            <a:xfrm>
              <a:off x="-600" y="54927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ACFDCFA-8871-4375-9DD7-4FC5886280A9}"/>
                </a:ext>
              </a:extLst>
            </p:cNvPr>
            <p:cNvCxnSpPr/>
            <p:nvPr/>
          </p:nvCxnSpPr>
          <p:spPr>
            <a:xfrm>
              <a:off x="-600" y="1072861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BCC4B7F-FEF1-4EA1-831D-C9AA6F5F064E}"/>
                </a:ext>
              </a:extLst>
            </p:cNvPr>
            <p:cNvCxnSpPr/>
            <p:nvPr/>
          </p:nvCxnSpPr>
          <p:spPr>
            <a:xfrm>
              <a:off x="-600" y="1334654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81DCA16-8F73-4630-BDD0-2A70C4A58AB4}"/>
                </a:ext>
              </a:extLst>
            </p:cNvPr>
            <p:cNvCxnSpPr/>
            <p:nvPr/>
          </p:nvCxnSpPr>
          <p:spPr>
            <a:xfrm>
              <a:off x="-600" y="1596447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BC31EB1-B3A4-46CF-BFA4-063B67EE1C0D}"/>
                </a:ext>
              </a:extLst>
            </p:cNvPr>
            <p:cNvCxnSpPr/>
            <p:nvPr/>
          </p:nvCxnSpPr>
          <p:spPr>
            <a:xfrm>
              <a:off x="-600" y="1858240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93E6A85-DDE0-4463-B476-9FA784357023}"/>
                </a:ext>
              </a:extLst>
            </p:cNvPr>
            <p:cNvCxnSpPr/>
            <p:nvPr/>
          </p:nvCxnSpPr>
          <p:spPr>
            <a:xfrm>
              <a:off x="-600" y="2120033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A4D7F3C-5BD5-4AC2-88A1-966E801F5AED}"/>
                </a:ext>
              </a:extLst>
            </p:cNvPr>
            <p:cNvCxnSpPr/>
            <p:nvPr/>
          </p:nvCxnSpPr>
          <p:spPr>
            <a:xfrm>
              <a:off x="-600" y="2381826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2775BB7-F520-4F81-AF6D-F59D1B76F55E}"/>
                </a:ext>
              </a:extLst>
            </p:cNvPr>
            <p:cNvCxnSpPr/>
            <p:nvPr/>
          </p:nvCxnSpPr>
          <p:spPr>
            <a:xfrm>
              <a:off x="-600" y="2643619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CB72474-2AC2-420E-BDB5-E5A722B50684}"/>
                </a:ext>
              </a:extLst>
            </p:cNvPr>
            <p:cNvCxnSpPr/>
            <p:nvPr/>
          </p:nvCxnSpPr>
          <p:spPr>
            <a:xfrm>
              <a:off x="-600" y="2905412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7F88338-30AC-49A0-A5C4-EC7BD34E1FA6}"/>
                </a:ext>
              </a:extLst>
            </p:cNvPr>
            <p:cNvCxnSpPr/>
            <p:nvPr/>
          </p:nvCxnSpPr>
          <p:spPr>
            <a:xfrm>
              <a:off x="-600" y="316720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A4A82DD-B8CC-462B-93E9-CBC87352521F}"/>
                </a:ext>
              </a:extLst>
            </p:cNvPr>
            <p:cNvCxnSpPr/>
            <p:nvPr/>
          </p:nvCxnSpPr>
          <p:spPr>
            <a:xfrm>
              <a:off x="-600" y="342899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086DFAD-90A1-4761-A1F6-2CECC9F3CEB8}"/>
                </a:ext>
              </a:extLst>
            </p:cNvPr>
            <p:cNvCxnSpPr/>
            <p:nvPr/>
          </p:nvCxnSpPr>
          <p:spPr>
            <a:xfrm>
              <a:off x="-600" y="3690791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A73AC16-3E18-48F7-97ED-8B5A48560A3B}"/>
                </a:ext>
              </a:extLst>
            </p:cNvPr>
            <p:cNvCxnSpPr/>
            <p:nvPr/>
          </p:nvCxnSpPr>
          <p:spPr>
            <a:xfrm>
              <a:off x="-600" y="3952584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32B4CC9-D426-40F8-825B-C7E1196189B4}"/>
                </a:ext>
              </a:extLst>
            </p:cNvPr>
            <p:cNvCxnSpPr/>
            <p:nvPr/>
          </p:nvCxnSpPr>
          <p:spPr>
            <a:xfrm>
              <a:off x="-600" y="4214377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9DD5A36E-8435-4B1C-8462-1C956794FC17}"/>
                </a:ext>
              </a:extLst>
            </p:cNvPr>
            <p:cNvCxnSpPr/>
            <p:nvPr/>
          </p:nvCxnSpPr>
          <p:spPr>
            <a:xfrm>
              <a:off x="-600" y="4476170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D85A532-653B-4FD3-A2B9-908071F117D2}"/>
                </a:ext>
              </a:extLst>
            </p:cNvPr>
            <p:cNvCxnSpPr/>
            <p:nvPr/>
          </p:nvCxnSpPr>
          <p:spPr>
            <a:xfrm>
              <a:off x="-600" y="4737963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CDE1136A-6637-439F-89A7-D7F878D15199}"/>
                </a:ext>
              </a:extLst>
            </p:cNvPr>
            <p:cNvCxnSpPr/>
            <p:nvPr/>
          </p:nvCxnSpPr>
          <p:spPr>
            <a:xfrm>
              <a:off x="-600" y="4999756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4A0A4627-9F33-480E-B584-D2625F29AB95}"/>
                </a:ext>
              </a:extLst>
            </p:cNvPr>
            <p:cNvCxnSpPr/>
            <p:nvPr/>
          </p:nvCxnSpPr>
          <p:spPr>
            <a:xfrm>
              <a:off x="-600" y="5261549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49037A92-0EC2-4FBA-A847-8D0F6C45AD99}"/>
                </a:ext>
              </a:extLst>
            </p:cNvPr>
            <p:cNvCxnSpPr/>
            <p:nvPr/>
          </p:nvCxnSpPr>
          <p:spPr>
            <a:xfrm>
              <a:off x="-600" y="5523342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6B45D501-68B8-4FBE-8794-3CDE530B5439}"/>
                </a:ext>
              </a:extLst>
            </p:cNvPr>
            <p:cNvCxnSpPr/>
            <p:nvPr userDrawn="1"/>
          </p:nvCxnSpPr>
          <p:spPr>
            <a:xfrm>
              <a:off x="-600" y="578513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C63DF98-DC31-4B0A-9A94-9B9C493BD0DD}"/>
                </a:ext>
              </a:extLst>
            </p:cNvPr>
            <p:cNvCxnSpPr/>
            <p:nvPr userDrawn="1"/>
          </p:nvCxnSpPr>
          <p:spPr>
            <a:xfrm>
              <a:off x="-600" y="81106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D97F595-E8CD-4823-A296-F9B434149D35}"/>
                </a:ext>
              </a:extLst>
            </p:cNvPr>
            <p:cNvCxnSpPr/>
            <p:nvPr userDrawn="1"/>
          </p:nvCxnSpPr>
          <p:spPr>
            <a:xfrm>
              <a:off x="-600" y="630872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67767E29-78AA-446B-8F14-50FFE81A75D5}"/>
                </a:ext>
              </a:extLst>
            </p:cNvPr>
            <p:cNvCxnSpPr/>
            <p:nvPr userDrawn="1"/>
          </p:nvCxnSpPr>
          <p:spPr>
            <a:xfrm>
              <a:off x="-600" y="604692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Footnote measure">
            <a:extLst>
              <a:ext uri="{FF2B5EF4-FFF2-40B4-BE49-F238E27FC236}">
                <a16:creationId xmlns:a16="http://schemas.microsoft.com/office/drawing/2014/main" id="{FCB67C59-94A5-43D0-98F3-D2DF706BE6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50264" y="6308722"/>
            <a:ext cx="11090873" cy="261799"/>
          </a:xfrm>
          <a:prstGeom prst="rect">
            <a:avLst/>
          </a:prstGeom>
          <a:solidFill>
            <a:srgbClr val="FF0000">
              <a:alpha val="1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Whitespace measure">
            <a:extLst>
              <a:ext uri="{FF2B5EF4-FFF2-40B4-BE49-F238E27FC236}">
                <a16:creationId xmlns:a16="http://schemas.microsoft.com/office/drawing/2014/main" id="{B9FA0CC8-4D85-4377-9762-D979C28385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50864" y="1348222"/>
            <a:ext cx="11105556" cy="509202"/>
          </a:xfrm>
          <a:prstGeom prst="rect">
            <a:avLst/>
          </a:prstGeom>
          <a:solidFill>
            <a:srgbClr val="FF0000">
              <a:alpha val="5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Live area">
            <a:extLst>
              <a:ext uri="{FF2B5EF4-FFF2-40B4-BE49-F238E27FC236}">
                <a16:creationId xmlns:a16="http://schemas.microsoft.com/office/drawing/2014/main" id="{AA787823-C275-4031-9AC7-3513520EE759}"/>
              </a:ext>
            </a:extLst>
          </p:cNvPr>
          <p:cNvSpPr/>
          <p:nvPr userDrawn="1"/>
        </p:nvSpPr>
        <p:spPr>
          <a:xfrm>
            <a:off x="550864" y="2120034"/>
            <a:ext cx="11090275" cy="4188692"/>
          </a:xfrm>
          <a:custGeom>
            <a:avLst/>
            <a:gdLst>
              <a:gd name="connsiteX0" fmla="*/ 0 w 10931999"/>
              <a:gd name="connsiteY0" fmla="*/ 0 h 5537797"/>
              <a:gd name="connsiteX1" fmla="*/ 10931999 w 10931999"/>
              <a:gd name="connsiteY1" fmla="*/ 0 h 5537797"/>
              <a:gd name="connsiteX2" fmla="*/ 10931999 w 10931999"/>
              <a:gd name="connsiteY2" fmla="*/ 5537797 h 5537797"/>
              <a:gd name="connsiteX3" fmla="*/ 0 w 10931999"/>
              <a:gd name="connsiteY3" fmla="*/ 5537797 h 553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31999" h="5537797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>
            <a:solidFill>
              <a:schemeClr val="tx2">
                <a:alpha val="3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1AA03C-D537-4B50-8AA2-DE2B0859A9E0}"/>
              </a:ext>
            </a:extLst>
          </p:cNvPr>
          <p:cNvGrpSpPr/>
          <p:nvPr userDrawn="1"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  <a:solidFill>
            <a:schemeClr val="tx2">
              <a:lumMod val="40000"/>
              <a:lumOff val="60000"/>
              <a:alpha val="10000"/>
            </a:schemeClr>
          </a:solidFill>
        </p:grpSpPr>
        <p:sp>
          <p:nvSpPr>
            <p:cNvPr id="13" name="Rectangle 34">
              <a:extLst>
                <a:ext uri="{FF2B5EF4-FFF2-40B4-BE49-F238E27FC236}">
                  <a16:creationId xmlns:a16="http://schemas.microsoft.com/office/drawing/2014/main" id="{CEBF00D2-4B24-426D-BD4A-087B43FE3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Rectangle 35">
              <a:extLst>
                <a:ext uri="{FF2B5EF4-FFF2-40B4-BE49-F238E27FC236}">
                  <a16:creationId xmlns:a16="http://schemas.microsoft.com/office/drawing/2014/main" id="{6BD82B4A-4BB0-4614-B13C-4CFCC7A22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Rectangle 36">
              <a:extLst>
                <a:ext uri="{FF2B5EF4-FFF2-40B4-BE49-F238E27FC236}">
                  <a16:creationId xmlns:a16="http://schemas.microsoft.com/office/drawing/2014/main" id="{BF9ACD5F-BA8A-4218-BB75-6E90A13EF9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7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Rectangle 37">
              <a:extLst>
                <a:ext uri="{FF2B5EF4-FFF2-40B4-BE49-F238E27FC236}">
                  <a16:creationId xmlns:a16="http://schemas.microsoft.com/office/drawing/2014/main" id="{379A22D2-DA96-41ED-9D9E-1155426DFF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42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Rectangle 38">
              <a:extLst>
                <a:ext uri="{FF2B5EF4-FFF2-40B4-BE49-F238E27FC236}">
                  <a16:creationId xmlns:a16="http://schemas.microsoft.com/office/drawing/2014/main" id="{7EF7963D-A1E1-415D-8969-F027A75D12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Rectangle 39">
              <a:extLst>
                <a:ext uri="{FF2B5EF4-FFF2-40B4-BE49-F238E27FC236}">
                  <a16:creationId xmlns:a16="http://schemas.microsoft.com/office/drawing/2014/main" id="{BBE34D05-AF10-4FE9-A201-F9E2A8027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2839" y="549274"/>
              <a:ext cx="288000" cy="5759450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Rectangle 40">
              <a:extLst>
                <a:ext uri="{FF2B5EF4-FFF2-40B4-BE49-F238E27FC236}">
                  <a16:creationId xmlns:a16="http://schemas.microsoft.com/office/drawing/2014/main" id="{349BF860-A8A0-4AB9-B299-1AF824195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Rectangle 41">
              <a:extLst>
                <a:ext uri="{FF2B5EF4-FFF2-40B4-BE49-F238E27FC236}">
                  <a16:creationId xmlns:a16="http://schemas.microsoft.com/office/drawing/2014/main" id="{3E2A80A6-61F6-4E58-B43B-059CCD29C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2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Rectangle 42">
              <a:extLst>
                <a:ext uri="{FF2B5EF4-FFF2-40B4-BE49-F238E27FC236}">
                  <a16:creationId xmlns:a16="http://schemas.microsoft.com/office/drawing/2014/main" id="{0F927BDE-7613-4A1B-9405-C18A0AA02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Rectangle 43">
              <a:extLst>
                <a:ext uri="{FF2B5EF4-FFF2-40B4-BE49-F238E27FC236}">
                  <a16:creationId xmlns:a16="http://schemas.microsoft.com/office/drawing/2014/main" id="{9D0BF9DE-3D09-432F-B97F-D68AFE1C7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7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Rectangle 44">
              <a:extLst>
                <a:ext uri="{FF2B5EF4-FFF2-40B4-BE49-F238E27FC236}">
                  <a16:creationId xmlns:a16="http://schemas.microsoft.com/office/drawing/2014/main" id="{7807AD9B-3A59-4121-9F68-FB858FD6D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47" name="Footnote example">
            <a:extLst>
              <a:ext uri="{FF2B5EF4-FFF2-40B4-BE49-F238E27FC236}">
                <a16:creationId xmlns:a16="http://schemas.microsoft.com/office/drawing/2014/main" id="{DBF27226-1CAE-4EC3-B7C2-CD7BFF212B2F}"/>
              </a:ext>
            </a:extLst>
          </p:cNvPr>
          <p:cNvSpPr txBox="1"/>
          <p:nvPr userDrawn="1"/>
        </p:nvSpPr>
        <p:spPr>
          <a:xfrm>
            <a:off x="550863" y="6310249"/>
            <a:ext cx="9030915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Footnotes/Notes</a:t>
            </a:r>
          </a:p>
          <a:p>
            <a:pPr marL="0" marR="0" lvl="0" indent="0" algn="l" defTabSz="914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Source: Include a source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491C5D-1CCA-4AD2-960D-E2D2520D37E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490154" y="6450226"/>
            <a:ext cx="150682" cy="15388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2547BBBC-05CB-49BC-A9CC-2D869F0C1D2C}" type="slidenum">
              <a:rPr lang="en-IN" smtClean="0"/>
              <a:pPr/>
              <a:t>‹#›</a:t>
            </a:fld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A5092CC-99B7-42FA-B922-D9A469AA61A3}"/>
              </a:ext>
            </a:extLst>
          </p:cNvPr>
          <p:cNvGrpSpPr/>
          <p:nvPr userDrawn="1"/>
        </p:nvGrpSpPr>
        <p:grpSpPr>
          <a:xfrm>
            <a:off x="550864" y="6156604"/>
            <a:ext cx="11089971" cy="55199"/>
            <a:chOff x="550864" y="6156603"/>
            <a:chExt cx="11089971" cy="55199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7D78F6B-68EA-4677-8270-E6CE44B4A9DC}"/>
                </a:ext>
              </a:extLst>
            </p:cNvPr>
            <p:cNvSpPr/>
            <p:nvPr userDrawn="1"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6E6D155-C668-4620-947B-CD6756DB3E3F}"/>
                </a:ext>
              </a:extLst>
            </p:cNvPr>
            <p:cNvSpPr/>
            <p:nvPr userDrawn="1"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3A33606-AE46-4272-A076-D6F1DEF2BE14}"/>
                </a:ext>
              </a:extLst>
            </p:cNvPr>
            <p:cNvSpPr/>
            <p:nvPr userDrawn="1"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7AF00D4-2C2C-4B64-AC48-30E76E740B68}"/>
                </a:ext>
              </a:extLst>
            </p:cNvPr>
            <p:cNvSpPr/>
            <p:nvPr userDrawn="1"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53F07A3-100A-4285-8103-25EB4F518B92}"/>
                </a:ext>
              </a:extLst>
            </p:cNvPr>
            <p:cNvSpPr/>
            <p:nvPr userDrawn="1"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C3F2152-358B-4AF4-9E4C-FFC021458588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EE3E2D1-AA6B-4858-AEA5-CA4E153942A1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8F01DC23-2710-4E23-8ECF-D42A01049798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625F897C-F6DC-43F6-83A9-103566BB7B1A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297483D6-4F68-4046-9938-3975F46B128B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0260B8F-626E-4F6C-82D6-73BBB93D898A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C8041FBB-4E11-4186-939C-922BB885CE7F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B9D46F4-06A5-41BD-A370-19C37CA28B53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B4380E05-CB91-42D7-A593-68D7E79B69EF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D399139-04A8-4906-A0E9-F32ED37B1DB5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E2C3744-960D-4FE8-A425-0A1BCCBFDCE3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656CA51-5E36-4B65-AAB5-604B2FFF1CA6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BEF9EA6-DC0A-4745-950A-75EB35C11A83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C185182D-9507-4706-B5C3-7D60904B8C41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DC967172-2751-4E17-ACEB-B9AC16A1C8EE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B1C13260-A832-4897-8C2A-B004FA9AB5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59" name="Copyright">
              <a:extLst>
                <a:ext uri="{FF2B5EF4-FFF2-40B4-BE49-F238E27FC236}">
                  <a16:creationId xmlns:a16="http://schemas.microsoft.com/office/drawing/2014/main" id="{4E29D673-EFE2-4CE9-96D3-54B928054039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9679ACBB-550D-47A2-9ADD-A6C09F32A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9"/>
            <a:ext cx="11089972" cy="44318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IN"/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A9FA602-B0B9-4981-B1E1-9FFC8BD86320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99386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ue Layout" preserve="1">
  <p:cSld name="Blue Layou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8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2" tIns="45699" rIns="91422" bIns="45699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0" name="Google Shape;50;p83"/>
          <p:cNvGrpSpPr/>
          <p:nvPr/>
        </p:nvGrpSpPr>
        <p:grpSpPr>
          <a:xfrm>
            <a:off x="11998459" y="6162189"/>
            <a:ext cx="68500" cy="441925"/>
            <a:chOff x="11998459" y="6162188"/>
            <a:chExt cx="68500" cy="441925"/>
          </a:xfrm>
        </p:grpSpPr>
        <p:sp>
          <p:nvSpPr>
            <p:cNvPr id="51" name="Google Shape;51;p83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83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83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83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83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83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83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83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83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83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83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62;p83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63;p83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" name="Google Shape;64;p83"/>
          <p:cNvSpPr txBox="1"/>
          <p:nvPr/>
        </p:nvSpPr>
        <p:spPr>
          <a:xfrm rot="-5400000">
            <a:off x="11250972" y="5290632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0" dirty="0"/>
          </a:p>
        </p:txBody>
      </p:sp>
      <p:sp>
        <p:nvSpPr>
          <p:cNvPr id="65" name="Google Shape;65;p83"/>
          <p:cNvSpPr txBox="1">
            <a:spLocks noGrp="1"/>
          </p:cNvSpPr>
          <p:nvPr>
            <p:ph type="ftr" idx="11"/>
          </p:nvPr>
        </p:nvSpPr>
        <p:spPr>
          <a:xfrm>
            <a:off x="550863" y="6429937"/>
            <a:ext cx="955390" cy="1538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83"/>
          <p:cNvSpPr txBox="1">
            <a:spLocks noGrp="1"/>
          </p:cNvSpPr>
          <p:nvPr>
            <p:ph type="sldNum" idx="12"/>
          </p:nvPr>
        </p:nvSpPr>
        <p:spPr>
          <a:xfrm>
            <a:off x="11490154" y="6465614"/>
            <a:ext cx="150682" cy="1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7573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7231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C7EB34-6497-4D19-B99E-5F4D7F924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4" r="-1" b="-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0270E3B-760C-41F0-B9D6-A2E014047679}"/>
              </a:ext>
            </a:extLst>
          </p:cNvPr>
          <p:cNvSpPr/>
          <p:nvPr userDrawn="1"/>
        </p:nvSpPr>
        <p:spPr>
          <a:xfrm>
            <a:off x="536449" y="0"/>
            <a:ext cx="6363291" cy="147521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45000">
                <a:schemeClr val="tx2">
                  <a:lumMod val="50000"/>
                  <a:alpha val="90000"/>
                </a:schemeClr>
              </a:gs>
              <a:gs pos="100000">
                <a:schemeClr val="tx2">
                  <a:lumMod val="75000"/>
                  <a:alpha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1844677"/>
            <a:ext cx="6363291" cy="501332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b="0" cap="none" baseline="0" dirty="0">
                <a:solidFill>
                  <a:schemeClr val="bg1"/>
                </a:solidFill>
                <a:latin typeface="Franklin Gothic Demi" panose="020B07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73CF3BF-BC79-895D-2080-23B54D7D49E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5582" y="172909"/>
            <a:ext cx="2992347" cy="1118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7297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2521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 descr="A person holding a phone&#10;&#10;Description automatically generated with low confidence">
            <a:extLst>
              <a:ext uri="{FF2B5EF4-FFF2-40B4-BE49-F238E27FC236}">
                <a16:creationId xmlns:a16="http://schemas.microsoft.com/office/drawing/2014/main" id="{E6014E73-E918-7E3B-1116-0A79F39C8C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22" t="-1" r="21590"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0270E3B-760C-41F0-B9D6-A2E014047679}"/>
              </a:ext>
            </a:extLst>
          </p:cNvPr>
          <p:cNvSpPr/>
          <p:nvPr userDrawn="1"/>
        </p:nvSpPr>
        <p:spPr>
          <a:xfrm>
            <a:off x="536449" y="0"/>
            <a:ext cx="6363291" cy="147521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45000">
                <a:schemeClr val="tx2">
                  <a:lumMod val="50000"/>
                  <a:alpha val="90000"/>
                </a:schemeClr>
              </a:gs>
              <a:gs pos="100000">
                <a:schemeClr val="tx2">
                  <a:lumMod val="75000"/>
                  <a:alpha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CEEA00B-DE05-BC01-6E87-AC9F343D546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5582" y="172909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C7EB34-6497-4D19-B99E-5F4D7F924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1844677"/>
            <a:ext cx="6363291" cy="501332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b="0" cap="none" baseline="0" dirty="0">
                <a:solidFill>
                  <a:schemeClr val="bg1"/>
                </a:solidFill>
                <a:latin typeface="Franklin Gothic Demi" panose="020B07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  <a:endParaRPr lang="en-US" dirty="0"/>
          </a:p>
        </p:txBody>
      </p:sp>
      <p:grpSp>
        <p:nvGrpSpPr>
          <p:cNvPr id="7" name="Google Shape;36;p40">
            <a:extLst>
              <a:ext uri="{FF2B5EF4-FFF2-40B4-BE49-F238E27FC236}">
                <a16:creationId xmlns:a16="http://schemas.microsoft.com/office/drawing/2014/main" id="{71CB15B7-864A-9DC1-657D-C5E29829C0C4}"/>
              </a:ext>
            </a:extLst>
          </p:cNvPr>
          <p:cNvGrpSpPr/>
          <p:nvPr userDrawn="1"/>
        </p:nvGrpSpPr>
        <p:grpSpPr>
          <a:xfrm>
            <a:off x="11998460" y="6162190"/>
            <a:ext cx="68500" cy="441924"/>
            <a:chOff x="11998459" y="6162188"/>
            <a:chExt cx="68500" cy="441925"/>
          </a:xfrm>
        </p:grpSpPr>
        <p:sp>
          <p:nvSpPr>
            <p:cNvPr id="8" name="Google Shape;37;p40">
              <a:extLst>
                <a:ext uri="{FF2B5EF4-FFF2-40B4-BE49-F238E27FC236}">
                  <a16:creationId xmlns:a16="http://schemas.microsoft.com/office/drawing/2014/main" id="{EA80B92E-3B36-97BC-4D57-7347B591B62F}"/>
                </a:ext>
              </a:extLst>
            </p:cNvPr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8;p40">
              <a:extLst>
                <a:ext uri="{FF2B5EF4-FFF2-40B4-BE49-F238E27FC236}">
                  <a16:creationId xmlns:a16="http://schemas.microsoft.com/office/drawing/2014/main" id="{4995F9A6-17AD-A39B-8EA7-0DE7FBFF28FE}"/>
                </a:ext>
              </a:extLst>
            </p:cNvPr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9;p40">
              <a:extLst>
                <a:ext uri="{FF2B5EF4-FFF2-40B4-BE49-F238E27FC236}">
                  <a16:creationId xmlns:a16="http://schemas.microsoft.com/office/drawing/2014/main" id="{34E53C25-2166-CAC6-9E8F-A0BE178603EB}"/>
                </a:ext>
              </a:extLst>
            </p:cNvPr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40;p40">
              <a:extLst>
                <a:ext uri="{FF2B5EF4-FFF2-40B4-BE49-F238E27FC236}">
                  <a16:creationId xmlns:a16="http://schemas.microsoft.com/office/drawing/2014/main" id="{5B114610-DBFE-CDA2-3B7A-F0C2EE7DB0A5}"/>
                </a:ext>
              </a:extLst>
            </p:cNvPr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41;p40">
              <a:extLst>
                <a:ext uri="{FF2B5EF4-FFF2-40B4-BE49-F238E27FC236}">
                  <a16:creationId xmlns:a16="http://schemas.microsoft.com/office/drawing/2014/main" id="{7D0C0229-5440-8189-5503-5D9E544B57CA}"/>
                </a:ext>
              </a:extLst>
            </p:cNvPr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42;p40">
              <a:extLst>
                <a:ext uri="{FF2B5EF4-FFF2-40B4-BE49-F238E27FC236}">
                  <a16:creationId xmlns:a16="http://schemas.microsoft.com/office/drawing/2014/main" id="{FC619FBD-843D-EBA5-67AB-147D3A892EE3}"/>
                </a:ext>
              </a:extLst>
            </p:cNvPr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43;p40">
              <a:extLst>
                <a:ext uri="{FF2B5EF4-FFF2-40B4-BE49-F238E27FC236}">
                  <a16:creationId xmlns:a16="http://schemas.microsoft.com/office/drawing/2014/main" id="{CCC34957-9A7C-0763-8B57-5A07BF04DFF2}"/>
                </a:ext>
              </a:extLst>
            </p:cNvPr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44;p40">
              <a:extLst>
                <a:ext uri="{FF2B5EF4-FFF2-40B4-BE49-F238E27FC236}">
                  <a16:creationId xmlns:a16="http://schemas.microsoft.com/office/drawing/2014/main" id="{AFA1F52E-53BE-E294-409A-0652228C6A15}"/>
                </a:ext>
              </a:extLst>
            </p:cNvPr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45;p40">
              <a:extLst>
                <a:ext uri="{FF2B5EF4-FFF2-40B4-BE49-F238E27FC236}">
                  <a16:creationId xmlns:a16="http://schemas.microsoft.com/office/drawing/2014/main" id="{E3E692E2-49D9-5C5D-0473-3946E393C3DF}"/>
                </a:ext>
              </a:extLst>
            </p:cNvPr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46;p40">
              <a:extLst>
                <a:ext uri="{FF2B5EF4-FFF2-40B4-BE49-F238E27FC236}">
                  <a16:creationId xmlns:a16="http://schemas.microsoft.com/office/drawing/2014/main" id="{3184E9C6-3ECC-49EC-2BCB-E2FD9A3F5F76}"/>
                </a:ext>
              </a:extLst>
            </p:cNvPr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47;p40">
              <a:extLst>
                <a:ext uri="{FF2B5EF4-FFF2-40B4-BE49-F238E27FC236}">
                  <a16:creationId xmlns:a16="http://schemas.microsoft.com/office/drawing/2014/main" id="{44E2B659-1506-7949-0B17-5E4459601EB9}"/>
                </a:ext>
              </a:extLst>
            </p:cNvPr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48;p40">
              <a:extLst>
                <a:ext uri="{FF2B5EF4-FFF2-40B4-BE49-F238E27FC236}">
                  <a16:creationId xmlns:a16="http://schemas.microsoft.com/office/drawing/2014/main" id="{CC6ED06C-97E6-48AB-E9A5-1D80DD743E7B}"/>
                </a:ext>
              </a:extLst>
            </p:cNvPr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49;p40">
              <a:extLst>
                <a:ext uri="{FF2B5EF4-FFF2-40B4-BE49-F238E27FC236}">
                  <a16:creationId xmlns:a16="http://schemas.microsoft.com/office/drawing/2014/main" id="{2820FE41-EED0-281E-DD24-13E298BB539A}"/>
                </a:ext>
              </a:extLst>
            </p:cNvPr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" name="Google Shape;50;p40">
            <a:extLst>
              <a:ext uri="{FF2B5EF4-FFF2-40B4-BE49-F238E27FC236}">
                <a16:creationId xmlns:a16="http://schemas.microsoft.com/office/drawing/2014/main" id="{0CE85B7A-8B69-DC97-F849-280347C23F9A}"/>
              </a:ext>
            </a:extLst>
          </p:cNvPr>
          <p:cNvSpPr txBox="1"/>
          <p:nvPr userDrawn="1"/>
        </p:nvSpPr>
        <p:spPr>
          <a:xfrm rot="-5400000">
            <a:off x="11250972" y="5290634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IN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1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071262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64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A415120D-3668-49C1-AE11-A5139E17FB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4" t="3933" r="2214" b="3933"/>
          <a:stretch/>
        </p:blipFill>
        <p:spPr>
          <a:xfrm>
            <a:off x="269998" y="270000"/>
            <a:ext cx="11652001" cy="631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BE857BB-5DDF-4AEA-8F22-D5F9820E5C07}"/>
              </a:ext>
            </a:extLst>
          </p:cNvPr>
          <p:cNvSpPr/>
          <p:nvPr userDrawn="1"/>
        </p:nvSpPr>
        <p:spPr>
          <a:xfrm>
            <a:off x="536449" y="540000"/>
            <a:ext cx="6363891" cy="631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6B2B309-DF2B-9D8F-69F9-E990D37D8E9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1261" y="622237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4A727BF-EF41-4850-A868-11C0325A6C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6" y="3066686"/>
            <a:ext cx="5337943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6" y="4348579"/>
            <a:ext cx="5337943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5602361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64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A415120D-3668-49C1-AE11-A5139E17FB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4" t="3933" r="2214" b="3933"/>
          <a:stretch/>
        </p:blipFill>
        <p:spPr>
          <a:xfrm>
            <a:off x="269998" y="270000"/>
            <a:ext cx="11652001" cy="631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BE857BB-5DDF-4AEA-8F22-D5F9820E5C07}"/>
              </a:ext>
            </a:extLst>
          </p:cNvPr>
          <p:cNvSpPr/>
          <p:nvPr userDrawn="1"/>
        </p:nvSpPr>
        <p:spPr>
          <a:xfrm>
            <a:off x="536449" y="540000"/>
            <a:ext cx="6363891" cy="631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6B2B309-DF2B-9D8F-69F9-E990D37D8E9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1261" y="622237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4A727BF-EF41-4850-A868-11C0325A6C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6" y="3066686"/>
            <a:ext cx="5337943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6" y="4348579"/>
            <a:ext cx="5337943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7206675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28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7" t="8006" r="4517" b="8006"/>
          <a:stretch/>
        </p:blipFill>
        <p:spPr>
          <a:xfrm>
            <a:off x="550861" y="549275"/>
            <a:ext cx="11090276" cy="575945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A92DE9B-D3C3-4D9E-909D-59D0ACABEB18}"/>
              </a:ext>
            </a:extLst>
          </p:cNvPr>
          <p:cNvSpPr/>
          <p:nvPr userDrawn="1"/>
        </p:nvSpPr>
        <p:spPr>
          <a:xfrm>
            <a:off x="1083553" y="1080000"/>
            <a:ext cx="5816186" cy="577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50F7501-6EC7-1AC7-42E0-4E0B8DEC262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47078" y="1317829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C3BFC25-365A-4293-AFC3-06979C33ED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31950" y="5778001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1951" y="3610939"/>
            <a:ext cx="4799330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1951" y="4892832"/>
            <a:ext cx="4799330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497434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923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5627" r="-1" b="6561"/>
          <a:stretch/>
        </p:blipFill>
        <p:spPr>
          <a:xfrm>
            <a:off x="0" y="1522048"/>
            <a:ext cx="12192000" cy="533595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0"/>
            <a:ext cx="6363291" cy="630872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39000">
                <a:schemeClr val="tx2">
                  <a:lumMod val="75000"/>
                  <a:alpha val="95000"/>
                </a:schemeClr>
              </a:gs>
              <a:gs pos="7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683BD48-CFDF-B684-1DAD-50E88FF5A58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0382" y="148436"/>
            <a:ext cx="3231114" cy="1208188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14727E-8174-4A53-8CD1-66A25E0EEA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842431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0841779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 preserve="1">
  <p:cSld name="Breaker Slide_1">
    <p:bg>
      <p:bgPr>
        <a:solidFill>
          <a:schemeClr val="lt2"/>
        </a:solidFill>
        <a:effectLst/>
      </p:bgPr>
    </p:bg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FFEEBE7-590A-7C8C-78C2-DFD25580D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778059"/>
              </p:ext>
            </p:extLst>
          </p:nvPr>
        </p:nvGraphicFramePr>
        <p:xfrm>
          <a:off x="1440" y="1440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FFEEBE7-590A-7C8C-78C2-DFD25580D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40" y="1440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Google Shape;33;p40" descr="A picture containing graphical user interface&#10;&#10;Description automatically generated"/>
          <p:cNvPicPr preferRelativeResize="0"/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/>
          <a:stretch/>
        </p:blipFill>
        <p:spPr>
          <a:xfrm>
            <a:off x="1" y="-6562"/>
            <a:ext cx="12192000" cy="6864562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40"/>
          <p:cNvSpPr/>
          <p:nvPr/>
        </p:nvSpPr>
        <p:spPr>
          <a:xfrm>
            <a:off x="0" y="3853544"/>
            <a:ext cx="6240464" cy="2261507"/>
          </a:xfrm>
          <a:prstGeom prst="rect">
            <a:avLst/>
          </a:prstGeom>
          <a:gradFill>
            <a:gsLst>
              <a:gs pos="0">
                <a:srgbClr val="062379">
                  <a:alpha val="80000"/>
                </a:srgbClr>
              </a:gs>
              <a:gs pos="55000">
                <a:srgbClr val="385ED2">
                  <a:alpha val="80000"/>
                </a:srgbClr>
              </a:gs>
              <a:gs pos="76000">
                <a:srgbClr val="4873F5">
                  <a:alpha val="80000"/>
                </a:srgbClr>
              </a:gs>
              <a:gs pos="100000">
                <a:srgbClr val="43E1D3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40"/>
          <p:cNvSpPr txBox="1">
            <a:spLocks noGrp="1"/>
          </p:cNvSpPr>
          <p:nvPr>
            <p:ph type="title"/>
          </p:nvPr>
        </p:nvSpPr>
        <p:spPr>
          <a:xfrm>
            <a:off x="589046" y="4638134"/>
            <a:ext cx="5400674" cy="692323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4999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grpSp>
        <p:nvGrpSpPr>
          <p:cNvPr id="36" name="Google Shape;36;p40"/>
          <p:cNvGrpSpPr/>
          <p:nvPr/>
        </p:nvGrpSpPr>
        <p:grpSpPr>
          <a:xfrm>
            <a:off x="11998460" y="6162190"/>
            <a:ext cx="68500" cy="441924"/>
            <a:chOff x="11998459" y="6162188"/>
            <a:chExt cx="68500" cy="441925"/>
          </a:xfrm>
        </p:grpSpPr>
        <p:sp>
          <p:nvSpPr>
            <p:cNvPr id="37" name="Google Shape;37;p40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8;p40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9;p40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40;p40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41;p40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42;p40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43;p40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44;p40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45;p40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46;p40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40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48;p40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49;p40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" name="Google Shape;50;p40"/>
          <p:cNvSpPr txBox="1"/>
          <p:nvPr/>
        </p:nvSpPr>
        <p:spPr>
          <a:xfrm rot="-5400000">
            <a:off x="11250972" y="5290634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IN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1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51;p40"/>
          <p:cNvSpPr txBox="1">
            <a:spLocks noGrp="1"/>
          </p:cNvSpPr>
          <p:nvPr>
            <p:ph type="sldNum" idx="12"/>
          </p:nvPr>
        </p:nvSpPr>
        <p:spPr>
          <a:xfrm>
            <a:off x="11490154" y="6465614"/>
            <a:ext cx="150682" cy="1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1764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v="urn:schemas-microsoft-com:vml" xmlns:pvml="urn:schemas-microsoft-com:office:powerpoint" xmlns:p15="http://schemas.microsoft.com/office/powerpoint/2012/main" xmlns:o="urn:schemas-microsoft-com:office:office" xmlns:mv="urn:schemas-microsoft-com:mac:vml" xmlns:dgm="http://schemas.openxmlformats.org/drawingml/2006/diagram" xmlns:com="http://schemas.openxmlformats.org/drawingml/2006/compatibility" xmlns:c="http://schemas.openxmlformats.org/drawingml/2006/chart" xmlns:ahyp="http://schemas.microsoft.com/office/drawing/2018/hyperlinkcolor"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215EE13-6A4D-48C2-A4B1-30DA07094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560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215EE13-6A4D-48C2-A4B1-30DA07094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863ADCA1-24FF-455B-8752-270197618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2229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latin typeface="Franklin Gothic Demi" panose="020B070302010202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7DA5DEC-E51B-46CB-9299-8778528682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1814" y="1028324"/>
            <a:ext cx="11089972" cy="292388"/>
          </a:xfrm>
        </p:spPr>
        <p:txBody>
          <a:bodyPr>
            <a:spAutoFit/>
          </a:bodyPr>
          <a:lstStyle>
            <a:lvl1pPr>
              <a:defRPr sz="2000">
                <a:solidFill>
                  <a:schemeClr val="tx2">
                    <a:lumMod val="60000"/>
                    <a:lumOff val="40000"/>
                  </a:schemeClr>
                </a:solidFill>
                <a:latin typeface="Franklin Gothic Book" panose="020B050302010202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1CD3974-176A-43B6-8E60-33BCD19BBC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242293019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365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188F3D-7189-4E9E-89E6-895DD2D93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75486997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ith backgroun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261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5A3ACF9-E695-4094-9A16-A4F48EC9FF1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7D7FE3-E237-42E3-89BE-6BCC588B6C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7270365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785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4C70F-8641-4AD5-A3F6-0EBA9C54EA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3EF22FF7-C1AC-4F2A-9E98-236284660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4D4977A-6637-4106-96DA-BDAAC2518559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74D7535-DD55-4BCD-A913-9F98A80E2AAD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25BE1D1D-5C46-42D6-AA46-FD5902FDE024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A7F7D663-CB75-456D-911A-BD2A8F59B130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97E6936-7A47-4E85-B003-37AE13A73F22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B6F6AB7C-E8B0-4611-A905-F86C05FEC940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504CE7F7-478B-4DFB-A021-80071B529493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522A9F9-C26A-4B72-93CD-9528636133FE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D674410-4755-485D-BEA6-A9EE31599080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52F1A2D-9FF5-49A3-B11A-A842CB94EEE7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7660309-3ECC-487F-9D6C-08DE732EEA92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29373EC6-22EE-4AE8-A986-A3662C2AF607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EF08C567-10B3-494B-8347-38E808F75B2A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107EA0CD-BF40-4B85-88B1-06D5221EA25F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580E308-C62A-4BCD-993B-AFE1C3E57E94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836F53DC-0C00-4681-ADA4-58AABB9FD0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40" name="Copyright">
              <a:extLst>
                <a:ext uri="{FF2B5EF4-FFF2-40B4-BE49-F238E27FC236}">
                  <a16:creationId xmlns:a16="http://schemas.microsoft.com/office/drawing/2014/main" id="{36107045-99BA-4480-99BA-1F7D50690723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0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057744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623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88B1CBF-9B2F-4725-98BB-E3D2571154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2175804"/>
            <a:ext cx="54006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857376"/>
            <a:ext cx="5400675" cy="263149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4" y="2175804"/>
            <a:ext cx="54006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464" y="1857376"/>
            <a:ext cx="5400675" cy="263149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56E97DD-069F-4133-A109-0593CB969E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7720608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8172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2476173-BEA2-49BD-B5FE-C9602A2A7D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5" y="2175804"/>
            <a:ext cx="3506976" cy="1177245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 smtClean="0"/>
            </a:lvl2pPr>
            <a:lvl3pPr marL="179388" indent="0">
              <a:buNone/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857376"/>
            <a:ext cx="35069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35839" y="2175804"/>
            <a:ext cx="35053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35839" y="1857376"/>
            <a:ext cx="35053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59121794-F5DD-4A31-9CFD-38DDBBCF1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44162" y="2175804"/>
            <a:ext cx="35053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3143DD43-CBE6-4068-87AB-C994C18915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4162" y="1857376"/>
            <a:ext cx="35053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9CDC1BE-F1D3-4AAB-9527-98835405BA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30750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28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7" t="8006" r="4517" b="8006"/>
          <a:stretch/>
        </p:blipFill>
        <p:spPr>
          <a:xfrm>
            <a:off x="550861" y="549275"/>
            <a:ext cx="11090276" cy="575945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A92DE9B-D3C3-4D9E-909D-59D0ACABEB18}"/>
              </a:ext>
            </a:extLst>
          </p:cNvPr>
          <p:cNvSpPr/>
          <p:nvPr userDrawn="1"/>
        </p:nvSpPr>
        <p:spPr>
          <a:xfrm>
            <a:off x="1083553" y="1080000"/>
            <a:ext cx="5816186" cy="577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50F7501-6EC7-1AC7-42E0-4E0B8DEC262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47078" y="1317829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C3BFC25-365A-4293-AFC3-06979C33ED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31950" y="5778001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1951" y="3610939"/>
            <a:ext cx="4799330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1951" y="4892832"/>
            <a:ext cx="4799330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04821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911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14B796-0A71-42E1-B6EB-B6B2B79412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4" y="2175804"/>
            <a:ext cx="2559476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857376"/>
            <a:ext cx="25594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4" y="2175804"/>
            <a:ext cx="25548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464" y="1857376"/>
            <a:ext cx="2554875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475C8AB-1FCD-402F-8C3E-9BA6CE42B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4" y="2175804"/>
            <a:ext cx="2559476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35FA198-8A13-4A8F-B4EE-49845B8E8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5664" y="1857376"/>
            <a:ext cx="25594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6ACE083-C86D-45ED-8C11-019550696D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86263" y="2175804"/>
            <a:ext cx="25548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29247DB4-9C96-4895-AABD-422C522A97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6263" y="1857376"/>
            <a:ext cx="2554875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0B9447C-186B-4C6F-929F-503046B2C3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3085344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3416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F80F200-6A77-426D-879D-7C93BD8B9F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5" y="2175804"/>
            <a:ext cx="19836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857376"/>
            <a:ext cx="19836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4050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4050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475C8AB-1FCD-402F-8C3E-9BA6CE42B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27458" y="2175804"/>
            <a:ext cx="19836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35FA198-8A13-4A8F-B4EE-49845B8E8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27458" y="1857376"/>
            <a:ext cx="19836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6ACE083-C86D-45ED-8C11-019550696D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80643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29247DB4-9C96-4895-AABD-422C522A97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80643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ADA6637A-F017-4396-B239-B80ED2F97B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60801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7B295F18-5030-4811-B6C7-29EE7444BC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60801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E372659-0669-485A-8EB1-D45CE8B0F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901661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Grey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769024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1C34F18-9238-4944-9751-DBBFCD9E3C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039D39E-8FE8-4C3F-AE18-8C3DCD3BA4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E004E42-DB15-49F0-9906-81D60B6E8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3235117" cy="837152"/>
          </a:xfrm>
        </p:spPr>
        <p:txBody>
          <a:bodyPr>
            <a:sp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351731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925261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C7BEB73-A27D-4B04-A133-510ECB47E91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727F30D-9242-4A88-9322-2EDE74F75B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1BEDEA-6CDE-421B-87A1-0632A5F947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3135726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95941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Lef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517025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8FBABF1-7718-43F6-B247-8269F95D22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5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8429EF-F441-3040-BB9E-07E66E2B2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142" y="2546064"/>
            <a:ext cx="3032465" cy="176586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45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E6F1C9-C479-4E50-B466-BBB81EB0E1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3621652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Blu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57473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AAE3F72-88DF-4B4D-99C2-2DFE1EFB16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6098537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7F38A5-E451-48CD-9B09-4D22AB98C6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923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2586D8-6C60-41B6-B276-7BF701FEA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5163309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4918144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882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148355-9A23-4C82-8F0E-F21594843C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1F99190-1A65-41A8-BBA7-98BD441A8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50D61507-3612-4ECE-96B7-0F9C15D342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CE9086E-00AC-4525-B7C4-F51B01FEA197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F2864F8-CE03-42D9-A1C6-49C13A90928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DDB86A9-D96F-4924-9B1A-50C360C15742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86074501-3762-407F-A74D-3799FEAFBD37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3D29F00-385D-4638-BD08-A8B98A323401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E2A3DD6C-1362-40F5-A7B3-2E963C5D94FF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6616E241-6E09-4071-B657-CE4E7BB5CD37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6A9939C2-C1A3-49F7-A69F-F2E83814F06B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C6484D2-FDEB-453B-ACAB-605BDF0437F1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E626162E-D8C5-4F77-A6A1-E2B6C7CABFC3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6446D18-F2A6-4A1D-9193-2C1738C1053D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6A74D8F-C94B-4FE0-9FED-86918ACD7711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FE130351-367D-46DC-AEF2-11BF681D6F21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1295B187-375A-4BC1-8930-8B6FB7B25415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987C9E7-CE53-4EC9-8C60-48477925BADC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9" name="Copyright">
              <a:extLst>
                <a:ext uri="{FF2B5EF4-FFF2-40B4-BE49-F238E27FC236}">
                  <a16:creationId xmlns:a16="http://schemas.microsoft.com/office/drawing/2014/main" id="{7F3EFBBF-8F6E-4F95-970D-289D95FB3EDE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9914254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G (with 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08331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148355-9A23-4C82-8F0E-F21594843C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C27F5F1-6E1A-43D9-B04D-DEEBA03354E7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3878A702-A86E-4356-99F5-6CC007B3A84C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75A2218-59DA-4B99-8DEE-5DF1044A636F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E8F166A-EB8B-4235-A114-5C9D062319D5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2FC6C6B-C81D-4FE7-9F3B-65F6B734168D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8EBE5-A780-49FB-9EAB-A8F48E23FAC5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ADB921C-741F-494D-9C24-2E06B3F237E1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2CBAA18-CC04-464C-B2DA-F60F1DFE63B3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7D25102-BF68-4480-830D-1A1BE174C734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EE8638F-0CD8-4C03-9847-FAF25CBB620A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481A8A-8F5D-40BC-B59F-D4CEF2254BB7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50965BC-1532-45A0-8F0A-37DAEC7BBE6F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C1AF2FC-06E9-481D-AAD4-A185594C60F4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1342B2-AEC9-4B66-9503-4CFC2ED0B897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41AC723-9EBC-48CA-B1C7-D2D5419421B0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4" name="Copyright">
            <a:extLst>
              <a:ext uri="{FF2B5EF4-FFF2-40B4-BE49-F238E27FC236}">
                <a16:creationId xmlns:a16="http://schemas.microsoft.com/office/drawing/2014/main" id="{2B7A128F-26DE-473C-95DA-CCAF4D373141}"/>
              </a:ext>
            </a:extLst>
          </p:cNvPr>
          <p:cNvSpPr txBox="1"/>
          <p:nvPr userDrawn="1"/>
        </p:nvSpPr>
        <p:spPr>
          <a:xfrm rot="16200000">
            <a:off x="11250972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. All rights reserved.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1F99190-1A65-41A8-BBA7-98BD441A8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50D61507-3612-4ECE-96B7-0F9C15D342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EDF673-966E-4DCD-9A9F-89CC749ED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18576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523001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84101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E2B9A3-0AB0-4FA9-BE30-99B8A88EB1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8134763" y="-1"/>
            <a:ext cx="4059776" cy="6858001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454" y="6445295"/>
            <a:ext cx="15068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7BD8F9-1D4E-4291-8770-E69192472F2F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767490F9-4012-46F8-ABED-EB2AEB970D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BFAF012-FF52-4660-B1EB-E3DAD4E5D0D9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63A8AA3-AFD6-4F1D-95AB-D3C5F7E6A748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81A09B8-B6D7-496D-AC8E-E2CC99E1F047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77B1E538-1876-4C5E-8612-52D93329CC93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BEB775BB-2E5F-4B32-9B48-8DE1DD506FB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DF313EF-4694-4121-BF30-C1139E1F9D1C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F3BB4C7-5441-4DAF-B428-07833129A3C4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ADF2282-0F9C-41BD-8919-3F118F7AFA19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07EBF3C-B087-4F18-8637-DB3F73785049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FE95DEE8-DE4E-456F-B56B-0D9C34409112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34E317DF-5709-4B5E-A764-DBE2AC16DCAC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ABAA8A11-8055-4872-829E-9B4ACFB0448C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F3D0752F-4BE1-4DEA-9A91-C12628B9D905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27F6B00-C84C-430B-B7C2-DFB7384C7332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C86C1E6A-A2B0-4B52-82F6-EA7C2BB679FC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7" name="Copyright">
              <a:extLst>
                <a:ext uri="{FF2B5EF4-FFF2-40B4-BE49-F238E27FC236}">
                  <a16:creationId xmlns:a16="http://schemas.microsoft.com/office/drawing/2014/main" id="{6F9ADEBF-B227-47BA-9FFB-3881EE358DB3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D6CAC9C2-9DC0-4151-8814-3516E0ADB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7061683" cy="42229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10703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Blu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811140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C2C367-8056-426B-81B2-4B2C7238E5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6096000" y="-1"/>
            <a:ext cx="6098539" cy="6858001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454" y="6445295"/>
            <a:ext cx="15068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8C5468B-3210-455B-960F-ACC92937B434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D9F423ED-15C9-4DBA-A5CC-A74A55A44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623CBF1-457C-4491-90EE-6DE3BD9C2B8C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C5D61D5-4D53-4B2F-830C-7C2D09806F8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1E4918B8-A176-47C4-9264-39A91C78CD7E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3201241E-6654-4B58-A757-746A35947F4F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AC0D2E0D-CECA-462E-BAF3-CF92D72544E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A50CAD15-5BF3-4472-BDB9-3E3E4742DD64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C3511C1-3179-44B4-BB52-D2B10DA8A6E2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7DD1BCC-9230-417B-A5CC-E1D3F6F61041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7A77373-FE9B-46C2-BEB4-F8B0A94BD53E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CB8ABB54-E991-461F-9791-D895B90E6700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773B4D2-2297-4AFE-A952-85F190728CC5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E052044D-7360-4930-ACEF-75B0996C9E40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78EE721A-1842-4613-97C0-83F42E192EFE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E04EC6AA-4D0D-4D6B-A317-D59028CD1190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33B47ABB-E212-4C3A-93F4-8ECF298B2F14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8" name="Copyright">
              <a:extLst>
                <a:ext uri="{FF2B5EF4-FFF2-40B4-BE49-F238E27FC236}">
                  <a16:creationId xmlns:a16="http://schemas.microsoft.com/office/drawing/2014/main" id="{63A391B4-F2D4-4CEA-BB2D-6FE9C17F564E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93E1D190-1D55-4D58-B05F-8B0C78FE1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5123552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813194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923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5627" r="-1" b="6561"/>
          <a:stretch/>
        </p:blipFill>
        <p:spPr>
          <a:xfrm>
            <a:off x="0" y="1522048"/>
            <a:ext cx="12192000" cy="533595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0"/>
            <a:ext cx="6363291" cy="630872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39000">
                <a:schemeClr val="tx2">
                  <a:lumMod val="75000"/>
                  <a:alpha val="95000"/>
                </a:schemeClr>
              </a:gs>
              <a:gs pos="7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683BD48-CFDF-B684-1DAD-50E88FF5A58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0382" y="148436"/>
            <a:ext cx="3231114" cy="1208188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14727E-8174-4A53-8CD1-66A25E0EEA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842431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792440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er Slide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38369F-F8B4-42F9-9E33-ED43D3902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811257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38369F-F8B4-42F9-9E33-ED43D3902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6F88BD-D39D-4B55-A16B-68F5F7E3D6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9A2C76-32EA-4992-A965-D9260A5D160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82E60DA-1F02-9A45-8CE9-6CC78A3380F0}"/>
              </a:ext>
            </a:extLst>
          </p:cNvPr>
          <p:cNvSpPr/>
          <p:nvPr userDrawn="1"/>
        </p:nvSpPr>
        <p:spPr>
          <a:xfrm>
            <a:off x="1" y="0"/>
            <a:ext cx="2682587" cy="6858000"/>
          </a:xfrm>
          <a:prstGeom prst="rect">
            <a:avLst/>
          </a:prstGeom>
          <a:solidFill>
            <a:schemeClr val="bg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93BD1C-9237-8249-950A-62A7C86034D0}"/>
              </a:ext>
            </a:extLst>
          </p:cNvPr>
          <p:cNvSpPr/>
          <p:nvPr userDrawn="1"/>
        </p:nvSpPr>
        <p:spPr>
          <a:xfrm>
            <a:off x="1" y="3700464"/>
            <a:ext cx="9412014" cy="241458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410CA7A-4558-C443-9C75-2C8E863B7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592" y="4108436"/>
            <a:ext cx="8494899" cy="1569660"/>
          </a:xfrm>
          <a:effectLst>
            <a:outerShdw blurRad="1905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80000"/>
              </a:lnSpc>
              <a:defRPr lang="en-US" sz="60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A4D7170-2B51-4AFC-B047-0F5B3A69E471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DD1615D-0D55-4B48-87A2-0F30A4E3D8E7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C8D3D7F-D19B-49DE-9CB3-221A0639516B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30BC6AD-EFFB-4263-A0EB-5A8265D4385C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341753F-E8F7-47E2-8A08-516073C6B573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3E2B82A-AA52-459B-A885-2C9E46A7CA08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DCD4539-FE2A-4741-BBEF-2BADE6F5B99D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3FB79E5-53C4-46E5-AAF3-BCDBDA5A2D1D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09CEBDE-5D0C-41B5-85C2-CBC9DA810EFB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887E364-69C8-42A1-811A-4726514CBCE3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8A0E0BB-B67F-4B6F-A66E-3D42CC14F9E7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97C39D0-A99F-467C-9FAD-1FEC939449C9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B512C9A-2B27-4460-B3C8-AA6460E8DA65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A1FA1F5-B76B-4B98-99DC-DD1D17B7F23E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7" name="Copyright">
            <a:extLst>
              <a:ext uri="{FF2B5EF4-FFF2-40B4-BE49-F238E27FC236}">
                <a16:creationId xmlns:a16="http://schemas.microsoft.com/office/drawing/2014/main" id="{EB60B0AE-F9C0-4FBF-9FE6-F8CE2ED57C40}"/>
              </a:ext>
            </a:extLst>
          </p:cNvPr>
          <p:cNvSpPr txBox="1"/>
          <p:nvPr userDrawn="1"/>
        </p:nvSpPr>
        <p:spPr>
          <a:xfrm rot="16200000">
            <a:off x="11250972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. All rights reserved.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B037CC6-E5CE-4CBE-B183-A4AF78E15E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86580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_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38369F-F8B4-42F9-9E33-ED43D3902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57384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38369F-F8B4-42F9-9E33-ED43D3902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6F88BD-D39D-4B55-A16B-68F5F7E3D6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E076F7-2F5B-46F9-A7D4-BCD4A1BF4FB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grayscl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5571307-B5A1-49FA-8B2A-10157FD7593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55000">
                <a:schemeClr val="tx2">
                  <a:lumMod val="75000"/>
                  <a:alpha val="90000"/>
                </a:schemeClr>
              </a:gs>
              <a:gs pos="85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410CA7A-4558-C443-9C75-2C8E863B7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effectLst>
            <a:outerShdw blurRad="1905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80000"/>
              </a:lnSpc>
              <a:defRPr lang="en-US" sz="60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B037CC6-E5CE-4CBE-B183-A4AF78E15E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B1B01B0-505C-4864-BC9B-FBCE18D02D9C}"/>
              </a:ext>
            </a:extLst>
          </p:cNvPr>
          <p:cNvCxnSpPr>
            <a:cxnSpLocks/>
          </p:cNvCxnSpPr>
          <p:nvPr userDrawn="1"/>
        </p:nvCxnSpPr>
        <p:spPr>
          <a:xfrm>
            <a:off x="992389" y="5712304"/>
            <a:ext cx="154246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5DDDC21-5EC0-4BC6-A759-2D861F3A42C0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6CE34071-C191-4EA0-879B-938D0D7FB2DC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86C589D3-2A68-47B4-A186-DCD2A83FCFC8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BB41610-46EC-428B-835A-19794F87B288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335B418E-1CF7-49D6-9410-F4E0F9CA8FD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75874F1C-8BBD-43D9-9576-2326771CDA5E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41BF7ED0-D40C-414C-A361-03E0EC0CA1B8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0A1FE6F-2C49-4E56-BBB6-F7F2308FE7A5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8FE97711-BCB1-4A87-B444-FE49A24C954C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C90751F-BC28-4C38-9AEE-4FE522001DE3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4759EB0F-4722-48F9-98B5-35600B2F5F54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1E9ED425-DEE8-4FE5-B40D-E5D7FC3B173C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6FED47B5-7813-41FF-82AD-062C1EBA79EB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3412D8B3-B39C-4308-9921-278312CC9BDA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279E12B4-9493-4742-A8EB-9E495955EF01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34" name="Copyright">
              <a:extLst>
                <a:ext uri="{FF2B5EF4-FFF2-40B4-BE49-F238E27FC236}">
                  <a16:creationId xmlns:a16="http://schemas.microsoft.com/office/drawing/2014/main" id="{063EE5AF-0F23-4E4D-946B-2EF723C73A98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72360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02073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3E76732-5A5F-B03D-320E-52CD6F1CBCF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43457" y="2592164"/>
            <a:ext cx="4386551" cy="164023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106A152-DC8B-0C47-8CFD-D99759D28F81}"/>
              </a:ext>
            </a:extLst>
          </p:cNvPr>
          <p:cNvSpPr txBox="1"/>
          <p:nvPr userDrawn="1"/>
        </p:nvSpPr>
        <p:spPr>
          <a:xfrm>
            <a:off x="550863" y="5965461"/>
            <a:ext cx="302948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1" i="0" u="none" dirty="0">
                <a:solidFill>
                  <a:schemeClr val="accent3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  <a:sym typeface="Calibri" panose="020F0502020204030204" pitchFamily="34" charset="0"/>
              </a:rPr>
              <a:t>www.infomineo.com</a:t>
            </a:r>
          </a:p>
          <a:p>
            <a:pPr algn="l"/>
            <a:r>
              <a:rPr lang="en-GB" sz="1200" b="0" i="0" dirty="0">
                <a:solidFill>
                  <a:schemeClr val="bg1"/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  <a:sym typeface="Calibri" panose="020F0502020204030204" pitchFamily="34" charset="0"/>
              </a:rPr>
              <a:t>Infomineo Copyright © 2023. All rights reserved.</a:t>
            </a:r>
          </a:p>
        </p:txBody>
      </p:sp>
      <p:pic>
        <p:nvPicPr>
          <p:cNvPr id="30" name="Picture 29">
            <a:hlinkClick r:id="rId7"/>
            <a:extLst>
              <a:ext uri="{FF2B5EF4-FFF2-40B4-BE49-F238E27FC236}">
                <a16:creationId xmlns:a16="http://schemas.microsoft.com/office/drawing/2014/main" id="{3ED467EF-C028-4376-B7C8-A8830D77CF7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3329" y="5965461"/>
            <a:ext cx="370332" cy="370332"/>
          </a:xfrm>
          <a:prstGeom prst="rect">
            <a:avLst/>
          </a:prstGeom>
        </p:spPr>
      </p:pic>
      <p:pic>
        <p:nvPicPr>
          <p:cNvPr id="32" name="Picture 31">
            <a:hlinkClick r:id="rId9"/>
            <a:extLst>
              <a:ext uri="{FF2B5EF4-FFF2-40B4-BE49-F238E27FC236}">
                <a16:creationId xmlns:a16="http://schemas.microsoft.com/office/drawing/2014/main" id="{3BF2889F-2FC0-49EE-9DAD-8868FC3BE52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965" y="5965461"/>
            <a:ext cx="368808" cy="370332"/>
          </a:xfrm>
          <a:prstGeom prst="rect">
            <a:avLst/>
          </a:prstGeom>
        </p:spPr>
      </p:pic>
      <p:pic>
        <p:nvPicPr>
          <p:cNvPr id="34" name="Picture 33">
            <a:hlinkClick r:id="rId11"/>
            <a:extLst>
              <a:ext uri="{FF2B5EF4-FFF2-40B4-BE49-F238E27FC236}">
                <a16:creationId xmlns:a16="http://schemas.microsoft.com/office/drawing/2014/main" id="{96507CF0-D683-43B8-9352-634205E2EC2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8600" y="5965461"/>
            <a:ext cx="368808" cy="37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4522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>
            <a:extLst>
              <a:ext uri="{FF2B5EF4-FFF2-40B4-BE49-F238E27FC236}">
                <a16:creationId xmlns:a16="http://schemas.microsoft.com/office/drawing/2014/main" id="{C7E8C095-69F2-4BC8-964E-A1BFE9309E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833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9" name="Object 48" hidden="1">
                        <a:extLst>
                          <a:ext uri="{FF2B5EF4-FFF2-40B4-BE49-F238E27FC236}">
                            <a16:creationId xmlns:a16="http://schemas.microsoft.com/office/drawing/2014/main" id="{C7E8C095-69F2-4BC8-964E-A1BFE9309E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5F11C0-1445-4182-AF87-C63E0DB6C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7" name="Freeform: Shape 95">
            <a:extLst>
              <a:ext uri="{FF2B5EF4-FFF2-40B4-BE49-F238E27FC236}">
                <a16:creationId xmlns:a16="http://schemas.microsoft.com/office/drawing/2014/main" id="{E5A08834-247C-4C9E-93E7-8514C051C060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566584 w 12193200"/>
              <a:gd name="connsiteY0" fmla="*/ 549276 h 6858000"/>
              <a:gd name="connsiteX1" fmla="*/ 566584 w 12193200"/>
              <a:gd name="connsiteY1" fmla="*/ 6308726 h 6858000"/>
              <a:gd name="connsiteX2" fmla="*/ 11641138 w 12193200"/>
              <a:gd name="connsiteY2" fmla="*/ 6308726 h 6858000"/>
              <a:gd name="connsiteX3" fmla="*/ 11641138 w 12193200"/>
              <a:gd name="connsiteY3" fmla="*/ 549276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22800 h 6858000"/>
              <a:gd name="connsiteX7" fmla="*/ 12192000 w 12193200"/>
              <a:gd name="connsiteY7" fmla="*/ 622800 h 6858000"/>
              <a:gd name="connsiteX8" fmla="*/ 12192000 w 12193200"/>
              <a:gd name="connsiteY8" fmla="*/ 6160597 h 6858000"/>
              <a:gd name="connsiteX9" fmla="*/ 12193200 w 12193200"/>
              <a:gd name="connsiteY9" fmla="*/ 6160597 h 6858000"/>
              <a:gd name="connsiteX10" fmla="*/ 12193200 w 12193200"/>
              <a:gd name="connsiteY10" fmla="*/ 6858000 h 6858000"/>
              <a:gd name="connsiteX11" fmla="*/ 12192000 w 12193200"/>
              <a:gd name="connsiteY11" fmla="*/ 6858000 h 6858000"/>
              <a:gd name="connsiteX12" fmla="*/ 11562000 w 12193200"/>
              <a:gd name="connsiteY12" fmla="*/ 6858000 h 6858000"/>
              <a:gd name="connsiteX13" fmla="*/ 630001 w 12193200"/>
              <a:gd name="connsiteY13" fmla="*/ 6858000 h 6858000"/>
              <a:gd name="connsiteX14" fmla="*/ 1 w 12193200"/>
              <a:gd name="connsiteY14" fmla="*/ 6858000 h 6858000"/>
              <a:gd name="connsiteX15" fmla="*/ 1 w 12193200"/>
              <a:gd name="connsiteY15" fmla="*/ 6160597 h 6858000"/>
              <a:gd name="connsiteX16" fmla="*/ 1 w 12193200"/>
              <a:gd name="connsiteY16" fmla="*/ 622800 h 6858000"/>
              <a:gd name="connsiteX17" fmla="*/ 0 w 12193200"/>
              <a:gd name="connsiteY17" fmla="*/ 622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3200" h="685800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5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59B0D14-7DD8-45E2-B968-99300FF0D28D}"/>
              </a:ext>
            </a:extLst>
          </p:cNvPr>
          <p:cNvGrpSpPr/>
          <p:nvPr userDrawn="1"/>
        </p:nvGrpSpPr>
        <p:grpSpPr>
          <a:xfrm>
            <a:off x="-600" y="549275"/>
            <a:ext cx="12193200" cy="5759450"/>
            <a:chOff x="-600" y="549275"/>
            <a:chExt cx="12193200" cy="5759450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FD9771C-C32F-443B-97DA-AB808B787FCB}"/>
                </a:ext>
              </a:extLst>
            </p:cNvPr>
            <p:cNvCxnSpPr/>
            <p:nvPr/>
          </p:nvCxnSpPr>
          <p:spPr>
            <a:xfrm>
              <a:off x="-600" y="54927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ACFDCFA-8871-4375-9DD7-4FC5886280A9}"/>
                </a:ext>
              </a:extLst>
            </p:cNvPr>
            <p:cNvCxnSpPr/>
            <p:nvPr/>
          </p:nvCxnSpPr>
          <p:spPr>
            <a:xfrm>
              <a:off x="-600" y="1072861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BCC4B7F-FEF1-4EA1-831D-C9AA6F5F064E}"/>
                </a:ext>
              </a:extLst>
            </p:cNvPr>
            <p:cNvCxnSpPr/>
            <p:nvPr/>
          </p:nvCxnSpPr>
          <p:spPr>
            <a:xfrm>
              <a:off x="-600" y="1334654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81DCA16-8F73-4630-BDD0-2A70C4A58AB4}"/>
                </a:ext>
              </a:extLst>
            </p:cNvPr>
            <p:cNvCxnSpPr/>
            <p:nvPr/>
          </p:nvCxnSpPr>
          <p:spPr>
            <a:xfrm>
              <a:off x="-600" y="1596447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BC31EB1-B3A4-46CF-BFA4-063B67EE1C0D}"/>
                </a:ext>
              </a:extLst>
            </p:cNvPr>
            <p:cNvCxnSpPr/>
            <p:nvPr/>
          </p:nvCxnSpPr>
          <p:spPr>
            <a:xfrm>
              <a:off x="-600" y="1858240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93E6A85-DDE0-4463-B476-9FA784357023}"/>
                </a:ext>
              </a:extLst>
            </p:cNvPr>
            <p:cNvCxnSpPr/>
            <p:nvPr/>
          </p:nvCxnSpPr>
          <p:spPr>
            <a:xfrm>
              <a:off x="-600" y="2120033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A4D7F3C-5BD5-4AC2-88A1-966E801F5AED}"/>
                </a:ext>
              </a:extLst>
            </p:cNvPr>
            <p:cNvCxnSpPr/>
            <p:nvPr/>
          </p:nvCxnSpPr>
          <p:spPr>
            <a:xfrm>
              <a:off x="-600" y="2381826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2775BB7-F520-4F81-AF6D-F59D1B76F55E}"/>
                </a:ext>
              </a:extLst>
            </p:cNvPr>
            <p:cNvCxnSpPr/>
            <p:nvPr/>
          </p:nvCxnSpPr>
          <p:spPr>
            <a:xfrm>
              <a:off x="-600" y="2643619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CB72474-2AC2-420E-BDB5-E5A722B50684}"/>
                </a:ext>
              </a:extLst>
            </p:cNvPr>
            <p:cNvCxnSpPr/>
            <p:nvPr/>
          </p:nvCxnSpPr>
          <p:spPr>
            <a:xfrm>
              <a:off x="-600" y="2905412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7F88338-30AC-49A0-A5C4-EC7BD34E1FA6}"/>
                </a:ext>
              </a:extLst>
            </p:cNvPr>
            <p:cNvCxnSpPr/>
            <p:nvPr/>
          </p:nvCxnSpPr>
          <p:spPr>
            <a:xfrm>
              <a:off x="-600" y="316720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A4A82DD-B8CC-462B-93E9-CBC87352521F}"/>
                </a:ext>
              </a:extLst>
            </p:cNvPr>
            <p:cNvCxnSpPr/>
            <p:nvPr/>
          </p:nvCxnSpPr>
          <p:spPr>
            <a:xfrm>
              <a:off x="-600" y="342899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086DFAD-90A1-4761-A1F6-2CECC9F3CEB8}"/>
                </a:ext>
              </a:extLst>
            </p:cNvPr>
            <p:cNvCxnSpPr/>
            <p:nvPr/>
          </p:nvCxnSpPr>
          <p:spPr>
            <a:xfrm>
              <a:off x="-600" y="3690791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A73AC16-3E18-48F7-97ED-8B5A48560A3B}"/>
                </a:ext>
              </a:extLst>
            </p:cNvPr>
            <p:cNvCxnSpPr/>
            <p:nvPr/>
          </p:nvCxnSpPr>
          <p:spPr>
            <a:xfrm>
              <a:off x="-600" y="3952584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32B4CC9-D426-40F8-825B-C7E1196189B4}"/>
                </a:ext>
              </a:extLst>
            </p:cNvPr>
            <p:cNvCxnSpPr/>
            <p:nvPr/>
          </p:nvCxnSpPr>
          <p:spPr>
            <a:xfrm>
              <a:off x="-600" y="4214377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9DD5A36E-8435-4B1C-8462-1C956794FC17}"/>
                </a:ext>
              </a:extLst>
            </p:cNvPr>
            <p:cNvCxnSpPr/>
            <p:nvPr/>
          </p:nvCxnSpPr>
          <p:spPr>
            <a:xfrm>
              <a:off x="-600" y="4476170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D85A532-653B-4FD3-A2B9-908071F117D2}"/>
                </a:ext>
              </a:extLst>
            </p:cNvPr>
            <p:cNvCxnSpPr/>
            <p:nvPr/>
          </p:nvCxnSpPr>
          <p:spPr>
            <a:xfrm>
              <a:off x="-600" y="4737963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CDE1136A-6637-439F-89A7-D7F878D15199}"/>
                </a:ext>
              </a:extLst>
            </p:cNvPr>
            <p:cNvCxnSpPr/>
            <p:nvPr/>
          </p:nvCxnSpPr>
          <p:spPr>
            <a:xfrm>
              <a:off x="-600" y="4999756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4A0A4627-9F33-480E-B584-D2625F29AB95}"/>
                </a:ext>
              </a:extLst>
            </p:cNvPr>
            <p:cNvCxnSpPr/>
            <p:nvPr/>
          </p:nvCxnSpPr>
          <p:spPr>
            <a:xfrm>
              <a:off x="-600" y="5261549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49037A92-0EC2-4FBA-A847-8D0F6C45AD99}"/>
                </a:ext>
              </a:extLst>
            </p:cNvPr>
            <p:cNvCxnSpPr/>
            <p:nvPr/>
          </p:nvCxnSpPr>
          <p:spPr>
            <a:xfrm>
              <a:off x="-600" y="5523342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6B45D501-68B8-4FBE-8794-3CDE530B5439}"/>
                </a:ext>
              </a:extLst>
            </p:cNvPr>
            <p:cNvCxnSpPr/>
            <p:nvPr userDrawn="1"/>
          </p:nvCxnSpPr>
          <p:spPr>
            <a:xfrm>
              <a:off x="-600" y="578513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C63DF98-DC31-4B0A-9A94-9B9C493BD0DD}"/>
                </a:ext>
              </a:extLst>
            </p:cNvPr>
            <p:cNvCxnSpPr/>
            <p:nvPr userDrawn="1"/>
          </p:nvCxnSpPr>
          <p:spPr>
            <a:xfrm>
              <a:off x="-600" y="81106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D97F595-E8CD-4823-A296-F9B434149D35}"/>
                </a:ext>
              </a:extLst>
            </p:cNvPr>
            <p:cNvCxnSpPr/>
            <p:nvPr userDrawn="1"/>
          </p:nvCxnSpPr>
          <p:spPr>
            <a:xfrm>
              <a:off x="-600" y="630872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67767E29-78AA-446B-8F14-50FFE81A75D5}"/>
                </a:ext>
              </a:extLst>
            </p:cNvPr>
            <p:cNvCxnSpPr/>
            <p:nvPr userDrawn="1"/>
          </p:nvCxnSpPr>
          <p:spPr>
            <a:xfrm>
              <a:off x="-600" y="604692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Footnote measure">
            <a:extLst>
              <a:ext uri="{FF2B5EF4-FFF2-40B4-BE49-F238E27FC236}">
                <a16:creationId xmlns:a16="http://schemas.microsoft.com/office/drawing/2014/main" id="{FCB67C59-94A5-43D0-98F3-D2DF706BE6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50264" y="6308722"/>
            <a:ext cx="11090873" cy="261799"/>
          </a:xfrm>
          <a:prstGeom prst="rect">
            <a:avLst/>
          </a:prstGeom>
          <a:solidFill>
            <a:srgbClr val="FF0000">
              <a:alpha val="1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Whitespace measure">
            <a:extLst>
              <a:ext uri="{FF2B5EF4-FFF2-40B4-BE49-F238E27FC236}">
                <a16:creationId xmlns:a16="http://schemas.microsoft.com/office/drawing/2014/main" id="{B9FA0CC8-4D85-4377-9762-D979C28385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50864" y="1348222"/>
            <a:ext cx="11105556" cy="509202"/>
          </a:xfrm>
          <a:prstGeom prst="rect">
            <a:avLst/>
          </a:prstGeom>
          <a:solidFill>
            <a:srgbClr val="FF0000">
              <a:alpha val="5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Live area">
            <a:extLst>
              <a:ext uri="{FF2B5EF4-FFF2-40B4-BE49-F238E27FC236}">
                <a16:creationId xmlns:a16="http://schemas.microsoft.com/office/drawing/2014/main" id="{AA787823-C275-4031-9AC7-3513520EE759}"/>
              </a:ext>
            </a:extLst>
          </p:cNvPr>
          <p:cNvSpPr/>
          <p:nvPr userDrawn="1"/>
        </p:nvSpPr>
        <p:spPr>
          <a:xfrm>
            <a:off x="550864" y="2120034"/>
            <a:ext cx="11090275" cy="4188692"/>
          </a:xfrm>
          <a:custGeom>
            <a:avLst/>
            <a:gdLst>
              <a:gd name="connsiteX0" fmla="*/ 0 w 10931999"/>
              <a:gd name="connsiteY0" fmla="*/ 0 h 5537797"/>
              <a:gd name="connsiteX1" fmla="*/ 10931999 w 10931999"/>
              <a:gd name="connsiteY1" fmla="*/ 0 h 5537797"/>
              <a:gd name="connsiteX2" fmla="*/ 10931999 w 10931999"/>
              <a:gd name="connsiteY2" fmla="*/ 5537797 h 5537797"/>
              <a:gd name="connsiteX3" fmla="*/ 0 w 10931999"/>
              <a:gd name="connsiteY3" fmla="*/ 5537797 h 553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31999" h="5537797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>
            <a:solidFill>
              <a:schemeClr val="tx2">
                <a:alpha val="3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1AA03C-D537-4B50-8AA2-DE2B0859A9E0}"/>
              </a:ext>
            </a:extLst>
          </p:cNvPr>
          <p:cNvGrpSpPr/>
          <p:nvPr userDrawn="1"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  <a:solidFill>
            <a:schemeClr val="tx2">
              <a:lumMod val="40000"/>
              <a:lumOff val="60000"/>
              <a:alpha val="10000"/>
            </a:schemeClr>
          </a:solidFill>
        </p:grpSpPr>
        <p:sp>
          <p:nvSpPr>
            <p:cNvPr id="13" name="Rectangle 34">
              <a:extLst>
                <a:ext uri="{FF2B5EF4-FFF2-40B4-BE49-F238E27FC236}">
                  <a16:creationId xmlns:a16="http://schemas.microsoft.com/office/drawing/2014/main" id="{CEBF00D2-4B24-426D-BD4A-087B43FE3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Rectangle 35">
              <a:extLst>
                <a:ext uri="{FF2B5EF4-FFF2-40B4-BE49-F238E27FC236}">
                  <a16:creationId xmlns:a16="http://schemas.microsoft.com/office/drawing/2014/main" id="{6BD82B4A-4BB0-4614-B13C-4CFCC7A22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Rectangle 36">
              <a:extLst>
                <a:ext uri="{FF2B5EF4-FFF2-40B4-BE49-F238E27FC236}">
                  <a16:creationId xmlns:a16="http://schemas.microsoft.com/office/drawing/2014/main" id="{BF9ACD5F-BA8A-4218-BB75-6E90A13EF9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7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Rectangle 37">
              <a:extLst>
                <a:ext uri="{FF2B5EF4-FFF2-40B4-BE49-F238E27FC236}">
                  <a16:creationId xmlns:a16="http://schemas.microsoft.com/office/drawing/2014/main" id="{379A22D2-DA96-41ED-9D9E-1155426DFF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42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Rectangle 38">
              <a:extLst>
                <a:ext uri="{FF2B5EF4-FFF2-40B4-BE49-F238E27FC236}">
                  <a16:creationId xmlns:a16="http://schemas.microsoft.com/office/drawing/2014/main" id="{7EF7963D-A1E1-415D-8969-F027A75D12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Rectangle 39">
              <a:extLst>
                <a:ext uri="{FF2B5EF4-FFF2-40B4-BE49-F238E27FC236}">
                  <a16:creationId xmlns:a16="http://schemas.microsoft.com/office/drawing/2014/main" id="{BBE34D05-AF10-4FE9-A201-F9E2A8027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2839" y="549274"/>
              <a:ext cx="288000" cy="5759450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Rectangle 40">
              <a:extLst>
                <a:ext uri="{FF2B5EF4-FFF2-40B4-BE49-F238E27FC236}">
                  <a16:creationId xmlns:a16="http://schemas.microsoft.com/office/drawing/2014/main" id="{349BF860-A8A0-4AB9-B299-1AF824195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Rectangle 41">
              <a:extLst>
                <a:ext uri="{FF2B5EF4-FFF2-40B4-BE49-F238E27FC236}">
                  <a16:creationId xmlns:a16="http://schemas.microsoft.com/office/drawing/2014/main" id="{3E2A80A6-61F6-4E58-B43B-059CCD29C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2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Rectangle 42">
              <a:extLst>
                <a:ext uri="{FF2B5EF4-FFF2-40B4-BE49-F238E27FC236}">
                  <a16:creationId xmlns:a16="http://schemas.microsoft.com/office/drawing/2014/main" id="{0F927BDE-7613-4A1B-9405-C18A0AA02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Rectangle 43">
              <a:extLst>
                <a:ext uri="{FF2B5EF4-FFF2-40B4-BE49-F238E27FC236}">
                  <a16:creationId xmlns:a16="http://schemas.microsoft.com/office/drawing/2014/main" id="{9D0BF9DE-3D09-432F-B97F-D68AFE1C7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7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Rectangle 44">
              <a:extLst>
                <a:ext uri="{FF2B5EF4-FFF2-40B4-BE49-F238E27FC236}">
                  <a16:creationId xmlns:a16="http://schemas.microsoft.com/office/drawing/2014/main" id="{7807AD9B-3A59-4121-9F68-FB858FD6D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47" name="Footnote example">
            <a:extLst>
              <a:ext uri="{FF2B5EF4-FFF2-40B4-BE49-F238E27FC236}">
                <a16:creationId xmlns:a16="http://schemas.microsoft.com/office/drawing/2014/main" id="{DBF27226-1CAE-4EC3-B7C2-CD7BFF212B2F}"/>
              </a:ext>
            </a:extLst>
          </p:cNvPr>
          <p:cNvSpPr txBox="1"/>
          <p:nvPr userDrawn="1"/>
        </p:nvSpPr>
        <p:spPr>
          <a:xfrm>
            <a:off x="550863" y="6310249"/>
            <a:ext cx="9030915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Footnotes/Notes</a:t>
            </a:r>
          </a:p>
          <a:p>
            <a:pPr marL="0" marR="0" lvl="0" indent="0" algn="l" defTabSz="914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Source: Include a source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491C5D-1CCA-4AD2-960D-E2D2520D37E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490154" y="6450226"/>
            <a:ext cx="150682" cy="15388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2547BBBC-05CB-49BC-A9CC-2D869F0C1D2C}" type="slidenum">
              <a:rPr lang="en-IN" smtClean="0"/>
              <a:pPr/>
              <a:t>‹#›</a:t>
            </a:fld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A5092CC-99B7-42FA-B922-D9A469AA61A3}"/>
              </a:ext>
            </a:extLst>
          </p:cNvPr>
          <p:cNvGrpSpPr/>
          <p:nvPr userDrawn="1"/>
        </p:nvGrpSpPr>
        <p:grpSpPr>
          <a:xfrm>
            <a:off x="550864" y="6156604"/>
            <a:ext cx="11089971" cy="55199"/>
            <a:chOff x="550864" y="6156603"/>
            <a:chExt cx="11089971" cy="55199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7D78F6B-68EA-4677-8270-E6CE44B4A9DC}"/>
                </a:ext>
              </a:extLst>
            </p:cNvPr>
            <p:cNvSpPr/>
            <p:nvPr userDrawn="1"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6E6D155-C668-4620-947B-CD6756DB3E3F}"/>
                </a:ext>
              </a:extLst>
            </p:cNvPr>
            <p:cNvSpPr/>
            <p:nvPr userDrawn="1"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3A33606-AE46-4272-A076-D6F1DEF2BE14}"/>
                </a:ext>
              </a:extLst>
            </p:cNvPr>
            <p:cNvSpPr/>
            <p:nvPr userDrawn="1"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7AF00D4-2C2C-4B64-AC48-30E76E740B68}"/>
                </a:ext>
              </a:extLst>
            </p:cNvPr>
            <p:cNvSpPr/>
            <p:nvPr userDrawn="1"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53F07A3-100A-4285-8103-25EB4F518B92}"/>
                </a:ext>
              </a:extLst>
            </p:cNvPr>
            <p:cNvSpPr/>
            <p:nvPr userDrawn="1"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C3F2152-358B-4AF4-9E4C-FFC021458588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EE3E2D1-AA6B-4858-AEA5-CA4E153942A1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8F01DC23-2710-4E23-8ECF-D42A01049798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625F897C-F6DC-43F6-83A9-103566BB7B1A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297483D6-4F68-4046-9938-3975F46B128B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0260B8F-626E-4F6C-82D6-73BBB93D898A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C8041FBB-4E11-4186-939C-922BB885CE7F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B9D46F4-06A5-41BD-A370-19C37CA28B53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B4380E05-CB91-42D7-A593-68D7E79B69EF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D399139-04A8-4906-A0E9-F32ED37B1DB5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E2C3744-960D-4FE8-A425-0A1BCCBFDCE3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656CA51-5E36-4B65-AAB5-604B2FFF1CA6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BEF9EA6-DC0A-4745-950A-75EB35C11A83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C185182D-9507-4706-B5C3-7D60904B8C41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DC967172-2751-4E17-ACEB-B9AC16A1C8EE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B1C13260-A832-4897-8C2A-B004FA9AB5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59" name="Copyright">
              <a:extLst>
                <a:ext uri="{FF2B5EF4-FFF2-40B4-BE49-F238E27FC236}">
                  <a16:creationId xmlns:a16="http://schemas.microsoft.com/office/drawing/2014/main" id="{4E29D673-EFE2-4CE9-96D3-54B928054039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9679ACBB-550D-47A2-9ADD-A6C09F32A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9"/>
            <a:ext cx="11089972" cy="44318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IN"/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A9FA602-B0B9-4981-B1E1-9FFC8BD86320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75469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ue Layout" preserve="1">
  <p:cSld name="Blue Layou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8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2" tIns="45699" rIns="91422" bIns="45699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0" name="Google Shape;50;p83"/>
          <p:cNvGrpSpPr/>
          <p:nvPr/>
        </p:nvGrpSpPr>
        <p:grpSpPr>
          <a:xfrm>
            <a:off x="11998459" y="6162189"/>
            <a:ext cx="68500" cy="441925"/>
            <a:chOff x="11998459" y="6162188"/>
            <a:chExt cx="68500" cy="441925"/>
          </a:xfrm>
        </p:grpSpPr>
        <p:sp>
          <p:nvSpPr>
            <p:cNvPr id="51" name="Google Shape;51;p83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83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83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83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83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83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83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83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83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83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83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62;p83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63;p83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" name="Google Shape;64;p83"/>
          <p:cNvSpPr txBox="1"/>
          <p:nvPr/>
        </p:nvSpPr>
        <p:spPr>
          <a:xfrm rot="-5400000">
            <a:off x="11250972" y="5290632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0" dirty="0"/>
          </a:p>
        </p:txBody>
      </p:sp>
      <p:sp>
        <p:nvSpPr>
          <p:cNvPr id="65" name="Google Shape;65;p83"/>
          <p:cNvSpPr txBox="1">
            <a:spLocks noGrp="1"/>
          </p:cNvSpPr>
          <p:nvPr>
            <p:ph type="ftr" idx="11"/>
          </p:nvPr>
        </p:nvSpPr>
        <p:spPr>
          <a:xfrm>
            <a:off x="550863" y="6429937"/>
            <a:ext cx="955390" cy="1538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83"/>
          <p:cNvSpPr txBox="1">
            <a:spLocks noGrp="1"/>
          </p:cNvSpPr>
          <p:nvPr>
            <p:ph type="sldNum" idx="12"/>
          </p:nvPr>
        </p:nvSpPr>
        <p:spPr>
          <a:xfrm>
            <a:off x="11490154" y="6465614"/>
            <a:ext cx="150682" cy="1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6164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7231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C7EB34-6497-4D19-B99E-5F4D7F924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4" r="-1" b="-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0270E3B-760C-41F0-B9D6-A2E014047679}"/>
              </a:ext>
            </a:extLst>
          </p:cNvPr>
          <p:cNvSpPr/>
          <p:nvPr userDrawn="1"/>
        </p:nvSpPr>
        <p:spPr>
          <a:xfrm>
            <a:off x="536449" y="0"/>
            <a:ext cx="6363291" cy="147521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45000">
                <a:schemeClr val="tx2">
                  <a:lumMod val="50000"/>
                  <a:alpha val="90000"/>
                </a:schemeClr>
              </a:gs>
              <a:gs pos="100000">
                <a:schemeClr val="tx2">
                  <a:lumMod val="75000"/>
                  <a:alpha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1844677"/>
            <a:ext cx="6363291" cy="501332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b="0" cap="none" baseline="0" dirty="0">
                <a:solidFill>
                  <a:schemeClr val="bg1"/>
                </a:solidFill>
                <a:latin typeface="Franklin Gothic Demi" panose="020B07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73CF3BF-BC79-895D-2080-23B54D7D49E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5582" y="172909"/>
            <a:ext cx="2992347" cy="1118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09189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2521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 descr="A person holding a phone&#10;&#10;Description automatically generated with low confidence">
            <a:extLst>
              <a:ext uri="{FF2B5EF4-FFF2-40B4-BE49-F238E27FC236}">
                <a16:creationId xmlns:a16="http://schemas.microsoft.com/office/drawing/2014/main" id="{E6014E73-E918-7E3B-1116-0A79F39C8C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22" t="-1" r="21590"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0270E3B-760C-41F0-B9D6-A2E014047679}"/>
              </a:ext>
            </a:extLst>
          </p:cNvPr>
          <p:cNvSpPr/>
          <p:nvPr userDrawn="1"/>
        </p:nvSpPr>
        <p:spPr>
          <a:xfrm>
            <a:off x="536449" y="0"/>
            <a:ext cx="6363291" cy="147521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45000">
                <a:schemeClr val="tx2">
                  <a:lumMod val="50000"/>
                  <a:alpha val="90000"/>
                </a:schemeClr>
              </a:gs>
              <a:gs pos="100000">
                <a:schemeClr val="tx2">
                  <a:lumMod val="75000"/>
                  <a:alpha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CEEA00B-DE05-BC01-6E87-AC9F343D546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5582" y="172909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C7EB34-6497-4D19-B99E-5F4D7F924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1844677"/>
            <a:ext cx="6363291" cy="501332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b="0" cap="none" baseline="0" dirty="0">
                <a:solidFill>
                  <a:schemeClr val="bg1"/>
                </a:solidFill>
                <a:latin typeface="Franklin Gothic Demi" panose="020B07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  <a:endParaRPr lang="en-US" dirty="0"/>
          </a:p>
        </p:txBody>
      </p:sp>
      <p:grpSp>
        <p:nvGrpSpPr>
          <p:cNvPr id="7" name="Google Shape;36;p40">
            <a:extLst>
              <a:ext uri="{FF2B5EF4-FFF2-40B4-BE49-F238E27FC236}">
                <a16:creationId xmlns:a16="http://schemas.microsoft.com/office/drawing/2014/main" id="{71CB15B7-864A-9DC1-657D-C5E29829C0C4}"/>
              </a:ext>
            </a:extLst>
          </p:cNvPr>
          <p:cNvGrpSpPr/>
          <p:nvPr userDrawn="1"/>
        </p:nvGrpSpPr>
        <p:grpSpPr>
          <a:xfrm>
            <a:off x="11998460" y="6162190"/>
            <a:ext cx="68500" cy="441924"/>
            <a:chOff x="11998459" y="6162188"/>
            <a:chExt cx="68500" cy="441925"/>
          </a:xfrm>
        </p:grpSpPr>
        <p:sp>
          <p:nvSpPr>
            <p:cNvPr id="8" name="Google Shape;37;p40">
              <a:extLst>
                <a:ext uri="{FF2B5EF4-FFF2-40B4-BE49-F238E27FC236}">
                  <a16:creationId xmlns:a16="http://schemas.microsoft.com/office/drawing/2014/main" id="{EA80B92E-3B36-97BC-4D57-7347B591B62F}"/>
                </a:ext>
              </a:extLst>
            </p:cNvPr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8;p40">
              <a:extLst>
                <a:ext uri="{FF2B5EF4-FFF2-40B4-BE49-F238E27FC236}">
                  <a16:creationId xmlns:a16="http://schemas.microsoft.com/office/drawing/2014/main" id="{4995F9A6-17AD-A39B-8EA7-0DE7FBFF28FE}"/>
                </a:ext>
              </a:extLst>
            </p:cNvPr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9;p40">
              <a:extLst>
                <a:ext uri="{FF2B5EF4-FFF2-40B4-BE49-F238E27FC236}">
                  <a16:creationId xmlns:a16="http://schemas.microsoft.com/office/drawing/2014/main" id="{34E53C25-2166-CAC6-9E8F-A0BE178603EB}"/>
                </a:ext>
              </a:extLst>
            </p:cNvPr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40;p40">
              <a:extLst>
                <a:ext uri="{FF2B5EF4-FFF2-40B4-BE49-F238E27FC236}">
                  <a16:creationId xmlns:a16="http://schemas.microsoft.com/office/drawing/2014/main" id="{5B114610-DBFE-CDA2-3B7A-F0C2EE7DB0A5}"/>
                </a:ext>
              </a:extLst>
            </p:cNvPr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41;p40">
              <a:extLst>
                <a:ext uri="{FF2B5EF4-FFF2-40B4-BE49-F238E27FC236}">
                  <a16:creationId xmlns:a16="http://schemas.microsoft.com/office/drawing/2014/main" id="{7D0C0229-5440-8189-5503-5D9E544B57CA}"/>
                </a:ext>
              </a:extLst>
            </p:cNvPr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42;p40">
              <a:extLst>
                <a:ext uri="{FF2B5EF4-FFF2-40B4-BE49-F238E27FC236}">
                  <a16:creationId xmlns:a16="http://schemas.microsoft.com/office/drawing/2014/main" id="{FC619FBD-843D-EBA5-67AB-147D3A892EE3}"/>
                </a:ext>
              </a:extLst>
            </p:cNvPr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43;p40">
              <a:extLst>
                <a:ext uri="{FF2B5EF4-FFF2-40B4-BE49-F238E27FC236}">
                  <a16:creationId xmlns:a16="http://schemas.microsoft.com/office/drawing/2014/main" id="{CCC34957-9A7C-0763-8B57-5A07BF04DFF2}"/>
                </a:ext>
              </a:extLst>
            </p:cNvPr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44;p40">
              <a:extLst>
                <a:ext uri="{FF2B5EF4-FFF2-40B4-BE49-F238E27FC236}">
                  <a16:creationId xmlns:a16="http://schemas.microsoft.com/office/drawing/2014/main" id="{AFA1F52E-53BE-E294-409A-0652228C6A15}"/>
                </a:ext>
              </a:extLst>
            </p:cNvPr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45;p40">
              <a:extLst>
                <a:ext uri="{FF2B5EF4-FFF2-40B4-BE49-F238E27FC236}">
                  <a16:creationId xmlns:a16="http://schemas.microsoft.com/office/drawing/2014/main" id="{E3E692E2-49D9-5C5D-0473-3946E393C3DF}"/>
                </a:ext>
              </a:extLst>
            </p:cNvPr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46;p40">
              <a:extLst>
                <a:ext uri="{FF2B5EF4-FFF2-40B4-BE49-F238E27FC236}">
                  <a16:creationId xmlns:a16="http://schemas.microsoft.com/office/drawing/2014/main" id="{3184E9C6-3ECC-49EC-2BCB-E2FD9A3F5F76}"/>
                </a:ext>
              </a:extLst>
            </p:cNvPr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47;p40">
              <a:extLst>
                <a:ext uri="{FF2B5EF4-FFF2-40B4-BE49-F238E27FC236}">
                  <a16:creationId xmlns:a16="http://schemas.microsoft.com/office/drawing/2014/main" id="{44E2B659-1506-7949-0B17-5E4459601EB9}"/>
                </a:ext>
              </a:extLst>
            </p:cNvPr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48;p40">
              <a:extLst>
                <a:ext uri="{FF2B5EF4-FFF2-40B4-BE49-F238E27FC236}">
                  <a16:creationId xmlns:a16="http://schemas.microsoft.com/office/drawing/2014/main" id="{CC6ED06C-97E6-48AB-E9A5-1D80DD743E7B}"/>
                </a:ext>
              </a:extLst>
            </p:cNvPr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49;p40">
              <a:extLst>
                <a:ext uri="{FF2B5EF4-FFF2-40B4-BE49-F238E27FC236}">
                  <a16:creationId xmlns:a16="http://schemas.microsoft.com/office/drawing/2014/main" id="{2820FE41-EED0-281E-DD24-13E298BB539A}"/>
                </a:ext>
              </a:extLst>
            </p:cNvPr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" name="Google Shape;50;p40">
            <a:extLst>
              <a:ext uri="{FF2B5EF4-FFF2-40B4-BE49-F238E27FC236}">
                <a16:creationId xmlns:a16="http://schemas.microsoft.com/office/drawing/2014/main" id="{0CE85B7A-8B69-DC97-F849-280347C23F9A}"/>
              </a:ext>
            </a:extLst>
          </p:cNvPr>
          <p:cNvSpPr txBox="1"/>
          <p:nvPr userDrawn="1"/>
        </p:nvSpPr>
        <p:spPr>
          <a:xfrm rot="-5400000">
            <a:off x="11250972" y="5290634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IN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1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941031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64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A415120D-3668-49C1-AE11-A5139E17FB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4" t="3933" r="2214" b="3933"/>
          <a:stretch/>
        </p:blipFill>
        <p:spPr>
          <a:xfrm>
            <a:off x="269998" y="270000"/>
            <a:ext cx="11652001" cy="631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BE857BB-5DDF-4AEA-8F22-D5F9820E5C07}"/>
              </a:ext>
            </a:extLst>
          </p:cNvPr>
          <p:cNvSpPr/>
          <p:nvPr userDrawn="1"/>
        </p:nvSpPr>
        <p:spPr>
          <a:xfrm>
            <a:off x="536449" y="540000"/>
            <a:ext cx="6363891" cy="631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6B2B309-DF2B-9D8F-69F9-E990D37D8E9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1261" y="622237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4A727BF-EF41-4850-A868-11C0325A6C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6" y="3066686"/>
            <a:ext cx="5337943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6" y="4348579"/>
            <a:ext cx="5337943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2807972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28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7" t="8006" r="4517" b="8006"/>
          <a:stretch/>
        </p:blipFill>
        <p:spPr>
          <a:xfrm>
            <a:off x="550861" y="549275"/>
            <a:ext cx="11090276" cy="575945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A92DE9B-D3C3-4D9E-909D-59D0ACABEB18}"/>
              </a:ext>
            </a:extLst>
          </p:cNvPr>
          <p:cNvSpPr/>
          <p:nvPr userDrawn="1"/>
        </p:nvSpPr>
        <p:spPr>
          <a:xfrm>
            <a:off x="1083553" y="1080000"/>
            <a:ext cx="5816186" cy="577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50F7501-6EC7-1AC7-42E0-4E0B8DEC262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47078" y="1317829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C3BFC25-365A-4293-AFC3-06979C33ED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31950" y="5778001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1951" y="3610939"/>
            <a:ext cx="4799330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1951" y="4892832"/>
            <a:ext cx="4799330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858270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923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5627" r="-1" b="6561"/>
          <a:stretch/>
        </p:blipFill>
        <p:spPr>
          <a:xfrm>
            <a:off x="0" y="1522048"/>
            <a:ext cx="12192000" cy="533595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0"/>
            <a:ext cx="6363291" cy="630872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39000">
                <a:schemeClr val="tx2">
                  <a:lumMod val="75000"/>
                  <a:alpha val="95000"/>
                </a:schemeClr>
              </a:gs>
              <a:gs pos="7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683BD48-CFDF-B684-1DAD-50E88FF5A58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0382" y="148436"/>
            <a:ext cx="3231114" cy="1208188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14727E-8174-4A53-8CD1-66A25E0EEA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842431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4301160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 preserve="1">
  <p:cSld name="Breaker Slide_1">
    <p:bg>
      <p:bgPr>
        <a:solidFill>
          <a:schemeClr val="lt2"/>
        </a:solidFill>
        <a:effectLst/>
      </p:bgPr>
    </p:bg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FFEEBE7-590A-7C8C-78C2-DFD25580D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778059"/>
              </p:ext>
            </p:extLst>
          </p:nvPr>
        </p:nvGraphicFramePr>
        <p:xfrm>
          <a:off x="1440" y="1440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FFEEBE7-590A-7C8C-78C2-DFD25580D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40" y="1440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Google Shape;33;p40" descr="A picture containing graphical user interface&#10;&#10;Description automatically generated"/>
          <p:cNvPicPr preferRelativeResize="0"/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/>
          <a:stretch/>
        </p:blipFill>
        <p:spPr>
          <a:xfrm>
            <a:off x="1" y="-6562"/>
            <a:ext cx="12192000" cy="6864562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40"/>
          <p:cNvSpPr/>
          <p:nvPr/>
        </p:nvSpPr>
        <p:spPr>
          <a:xfrm>
            <a:off x="0" y="3853544"/>
            <a:ext cx="6240464" cy="2261507"/>
          </a:xfrm>
          <a:prstGeom prst="rect">
            <a:avLst/>
          </a:prstGeom>
          <a:gradFill>
            <a:gsLst>
              <a:gs pos="0">
                <a:srgbClr val="062379">
                  <a:alpha val="80000"/>
                </a:srgbClr>
              </a:gs>
              <a:gs pos="55000">
                <a:srgbClr val="385ED2">
                  <a:alpha val="80000"/>
                </a:srgbClr>
              </a:gs>
              <a:gs pos="76000">
                <a:srgbClr val="4873F5">
                  <a:alpha val="80000"/>
                </a:srgbClr>
              </a:gs>
              <a:gs pos="100000">
                <a:srgbClr val="43E1D3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40"/>
          <p:cNvSpPr txBox="1">
            <a:spLocks noGrp="1"/>
          </p:cNvSpPr>
          <p:nvPr>
            <p:ph type="title"/>
          </p:nvPr>
        </p:nvSpPr>
        <p:spPr>
          <a:xfrm>
            <a:off x="589046" y="4638134"/>
            <a:ext cx="5400674" cy="692323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4999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grpSp>
        <p:nvGrpSpPr>
          <p:cNvPr id="36" name="Google Shape;36;p40"/>
          <p:cNvGrpSpPr/>
          <p:nvPr/>
        </p:nvGrpSpPr>
        <p:grpSpPr>
          <a:xfrm>
            <a:off x="11998460" y="6162190"/>
            <a:ext cx="68500" cy="441924"/>
            <a:chOff x="11998459" y="6162188"/>
            <a:chExt cx="68500" cy="441925"/>
          </a:xfrm>
        </p:grpSpPr>
        <p:sp>
          <p:nvSpPr>
            <p:cNvPr id="37" name="Google Shape;37;p40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8;p40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9;p40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40;p40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41;p40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42;p40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43;p40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44;p40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45;p40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46;p40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40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48;p40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49;p40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" name="Google Shape;50;p40"/>
          <p:cNvSpPr txBox="1"/>
          <p:nvPr/>
        </p:nvSpPr>
        <p:spPr>
          <a:xfrm rot="-5400000">
            <a:off x="11250972" y="5290634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IN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1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51;p40"/>
          <p:cNvSpPr txBox="1">
            <a:spLocks noGrp="1"/>
          </p:cNvSpPr>
          <p:nvPr>
            <p:ph type="sldNum" idx="12"/>
          </p:nvPr>
        </p:nvSpPr>
        <p:spPr>
          <a:xfrm>
            <a:off x="11490154" y="6465614"/>
            <a:ext cx="150682" cy="1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14041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v="urn:schemas-microsoft-com:vml" xmlns:pvml="urn:schemas-microsoft-com:office:powerpoint" xmlns:p15="http://schemas.microsoft.com/office/powerpoint/2012/main" xmlns:o="urn:schemas-microsoft-com:office:office" xmlns:mv="urn:schemas-microsoft-com:mac:vml" xmlns:dgm="http://schemas.openxmlformats.org/drawingml/2006/diagram" xmlns:com="http://schemas.openxmlformats.org/drawingml/2006/compatibility" xmlns:c="http://schemas.openxmlformats.org/drawingml/2006/chart" xmlns:ahyp="http://schemas.microsoft.com/office/drawing/2018/hyperlinkcolor"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 preserve="1">
  <p:cSld name="Breaker Slide_1">
    <p:bg>
      <p:bgPr>
        <a:solidFill>
          <a:schemeClr val="lt2"/>
        </a:solidFill>
        <a:effectLst/>
      </p:bgPr>
    </p:bg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FFEEBE7-590A-7C8C-78C2-DFD25580D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778059"/>
              </p:ext>
            </p:extLst>
          </p:nvPr>
        </p:nvGraphicFramePr>
        <p:xfrm>
          <a:off x="1440" y="1440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FFEEBE7-590A-7C8C-78C2-DFD25580D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40" y="1440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Google Shape;33;p40" descr="A picture containing graphical user interface&#10;&#10;Description automatically generated"/>
          <p:cNvPicPr preferRelativeResize="0"/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/>
          <a:stretch/>
        </p:blipFill>
        <p:spPr>
          <a:xfrm>
            <a:off x="1" y="-6562"/>
            <a:ext cx="12192000" cy="6864562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40"/>
          <p:cNvSpPr/>
          <p:nvPr/>
        </p:nvSpPr>
        <p:spPr>
          <a:xfrm>
            <a:off x="0" y="3853544"/>
            <a:ext cx="6240464" cy="2261507"/>
          </a:xfrm>
          <a:prstGeom prst="rect">
            <a:avLst/>
          </a:prstGeom>
          <a:gradFill>
            <a:gsLst>
              <a:gs pos="0">
                <a:srgbClr val="062379">
                  <a:alpha val="80000"/>
                </a:srgbClr>
              </a:gs>
              <a:gs pos="55000">
                <a:srgbClr val="385ED2">
                  <a:alpha val="80000"/>
                </a:srgbClr>
              </a:gs>
              <a:gs pos="76000">
                <a:srgbClr val="4873F5">
                  <a:alpha val="80000"/>
                </a:srgbClr>
              </a:gs>
              <a:gs pos="100000">
                <a:srgbClr val="43E1D3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40"/>
          <p:cNvSpPr txBox="1">
            <a:spLocks noGrp="1"/>
          </p:cNvSpPr>
          <p:nvPr>
            <p:ph type="title"/>
          </p:nvPr>
        </p:nvSpPr>
        <p:spPr>
          <a:xfrm>
            <a:off x="589046" y="4638134"/>
            <a:ext cx="5400674" cy="692323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4999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grpSp>
        <p:nvGrpSpPr>
          <p:cNvPr id="36" name="Google Shape;36;p40"/>
          <p:cNvGrpSpPr/>
          <p:nvPr/>
        </p:nvGrpSpPr>
        <p:grpSpPr>
          <a:xfrm>
            <a:off x="11998460" y="6162190"/>
            <a:ext cx="68500" cy="441924"/>
            <a:chOff x="11998459" y="6162188"/>
            <a:chExt cx="68500" cy="441925"/>
          </a:xfrm>
        </p:grpSpPr>
        <p:sp>
          <p:nvSpPr>
            <p:cNvPr id="37" name="Google Shape;37;p40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8;p40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9;p40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40;p40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41;p40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42;p40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43;p40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44;p40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45;p40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46;p40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40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48;p40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49;p40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" name="Google Shape;50;p40"/>
          <p:cNvSpPr txBox="1"/>
          <p:nvPr/>
        </p:nvSpPr>
        <p:spPr>
          <a:xfrm rot="-5400000">
            <a:off x="11250972" y="5290634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IN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1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51;p40"/>
          <p:cNvSpPr txBox="1">
            <a:spLocks noGrp="1"/>
          </p:cNvSpPr>
          <p:nvPr>
            <p:ph type="sldNum" idx="12"/>
          </p:nvPr>
        </p:nvSpPr>
        <p:spPr>
          <a:xfrm>
            <a:off x="11490154" y="6465614"/>
            <a:ext cx="150682" cy="1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087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v="urn:schemas-microsoft-com:vml" xmlns:pvml="urn:schemas-microsoft-com:office:powerpoint" xmlns:p15="http://schemas.microsoft.com/office/powerpoint/2012/main" xmlns:o="urn:schemas-microsoft-com:office:office" xmlns:mv="urn:schemas-microsoft-com:mac:vml" xmlns:dgm="http://schemas.openxmlformats.org/drawingml/2006/diagram" xmlns:com="http://schemas.openxmlformats.org/drawingml/2006/compatibility" xmlns:c="http://schemas.openxmlformats.org/drawingml/2006/chart" xmlns:ahyp="http://schemas.microsoft.com/office/drawing/2018/hyperlinkcolor"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215EE13-6A4D-48C2-A4B1-30DA07094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560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215EE13-6A4D-48C2-A4B1-30DA07094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863ADCA1-24FF-455B-8752-270197618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2229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latin typeface="Franklin Gothic Demi" panose="020B070302010202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7DA5DEC-E51B-46CB-9299-8778528682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1814" y="1028324"/>
            <a:ext cx="11089972" cy="292388"/>
          </a:xfrm>
        </p:spPr>
        <p:txBody>
          <a:bodyPr>
            <a:spAutoFit/>
          </a:bodyPr>
          <a:lstStyle>
            <a:lvl1pPr>
              <a:defRPr sz="2000">
                <a:solidFill>
                  <a:schemeClr val="tx2">
                    <a:lumMod val="60000"/>
                    <a:lumOff val="40000"/>
                  </a:schemeClr>
                </a:solidFill>
                <a:latin typeface="Franklin Gothic Book" panose="020B050302010202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1CD3974-176A-43B6-8E60-33BCD19BBC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617952349"/>
      </p:ext>
    </p:extLst>
  </p:cSld>
  <p:clrMapOvr>
    <a:masterClrMapping/>
  </p:clrMapOvr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365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188F3D-7189-4E9E-89E6-895DD2D93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89705643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ith backgroun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261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5A3ACF9-E695-4094-9A16-A4F48EC9FF1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7D7FE3-E237-42E3-89BE-6BCC588B6C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67468491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785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4C70F-8641-4AD5-A3F6-0EBA9C54EA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3EF22FF7-C1AC-4F2A-9E98-236284660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4D4977A-6637-4106-96DA-BDAAC2518559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74D7535-DD55-4BCD-A913-9F98A80E2AAD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25BE1D1D-5C46-42D6-AA46-FD5902FDE024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A7F7D663-CB75-456D-911A-BD2A8F59B130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97E6936-7A47-4E85-B003-37AE13A73F22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B6F6AB7C-E8B0-4611-A905-F86C05FEC940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504CE7F7-478B-4DFB-A021-80071B529493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522A9F9-C26A-4B72-93CD-9528636133FE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D674410-4755-485D-BEA6-A9EE31599080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52F1A2D-9FF5-49A3-B11A-A842CB94EEE7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7660309-3ECC-487F-9D6C-08DE732EEA92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29373EC6-22EE-4AE8-A986-A3662C2AF607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EF08C567-10B3-494B-8347-38E808F75B2A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107EA0CD-BF40-4B85-88B1-06D5221EA25F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580E308-C62A-4BCD-993B-AFE1C3E57E94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836F53DC-0C00-4681-ADA4-58AABB9FD0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40" name="Copyright">
              <a:extLst>
                <a:ext uri="{FF2B5EF4-FFF2-40B4-BE49-F238E27FC236}">
                  <a16:creationId xmlns:a16="http://schemas.microsoft.com/office/drawing/2014/main" id="{36107045-99BA-4480-99BA-1F7D50690723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0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0679361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623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88B1CBF-9B2F-4725-98BB-E3D2571154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2175804"/>
            <a:ext cx="54006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857376"/>
            <a:ext cx="5400675" cy="263149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4" y="2175804"/>
            <a:ext cx="54006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464" y="1857376"/>
            <a:ext cx="5400675" cy="263149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56E97DD-069F-4133-A109-0593CB969E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90504189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8172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2476173-BEA2-49BD-B5FE-C9602A2A7D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5" y="2175804"/>
            <a:ext cx="3506976" cy="1177245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 smtClean="0"/>
            </a:lvl2pPr>
            <a:lvl3pPr marL="179388" indent="0">
              <a:buNone/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857376"/>
            <a:ext cx="35069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35839" y="2175804"/>
            <a:ext cx="35053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35839" y="1857376"/>
            <a:ext cx="35053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59121794-F5DD-4A31-9CFD-38DDBBCF1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44162" y="2175804"/>
            <a:ext cx="35053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3143DD43-CBE6-4068-87AB-C994C18915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4162" y="1857376"/>
            <a:ext cx="35053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9CDC1BE-F1D3-4AAB-9527-98835405BA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59450522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911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14B796-0A71-42E1-B6EB-B6B2B79412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4" y="2175804"/>
            <a:ext cx="2559476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857376"/>
            <a:ext cx="25594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4" y="2175804"/>
            <a:ext cx="25548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464" y="1857376"/>
            <a:ext cx="2554875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475C8AB-1FCD-402F-8C3E-9BA6CE42B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4" y="2175804"/>
            <a:ext cx="2559476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35FA198-8A13-4A8F-B4EE-49845B8E8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5664" y="1857376"/>
            <a:ext cx="25594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6ACE083-C86D-45ED-8C11-019550696D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86263" y="2175804"/>
            <a:ext cx="25548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29247DB4-9C96-4895-AABD-422C522A97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6263" y="1857376"/>
            <a:ext cx="2554875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0B9447C-186B-4C6F-929F-503046B2C3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78819715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3416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F80F200-6A77-426D-879D-7C93BD8B9F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5" y="2175804"/>
            <a:ext cx="19836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857376"/>
            <a:ext cx="19836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4050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4050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475C8AB-1FCD-402F-8C3E-9BA6CE42B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27458" y="2175804"/>
            <a:ext cx="19836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35FA198-8A13-4A8F-B4EE-49845B8E8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27458" y="1857376"/>
            <a:ext cx="19836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6ACE083-C86D-45ED-8C11-019550696D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80643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29247DB4-9C96-4895-AABD-422C522A97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80643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ADA6637A-F017-4396-B239-B80ED2F97B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60801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7B295F18-5030-4811-B6C7-29EE7444BC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60801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E372659-0669-485A-8EB1-D45CE8B0F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3933045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Grey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769024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1C34F18-9238-4944-9751-DBBFCD9E3C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039D39E-8FE8-4C3F-AE18-8C3DCD3BA4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E004E42-DB15-49F0-9906-81D60B6E8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3235117" cy="837152"/>
          </a:xfrm>
        </p:spPr>
        <p:txBody>
          <a:bodyPr>
            <a:sp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152954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215EE13-6A4D-48C2-A4B1-30DA07094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560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215EE13-6A4D-48C2-A4B1-30DA07094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863ADCA1-24FF-455B-8752-270197618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2229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latin typeface="Franklin Gothic Demi" panose="020B070302010202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7DA5DEC-E51B-46CB-9299-8778528682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1814" y="1028324"/>
            <a:ext cx="11089972" cy="292388"/>
          </a:xfrm>
        </p:spPr>
        <p:txBody>
          <a:bodyPr>
            <a:spAutoFit/>
          </a:bodyPr>
          <a:lstStyle>
            <a:lvl1pPr>
              <a:defRPr sz="2000">
                <a:solidFill>
                  <a:schemeClr val="tx2">
                    <a:lumMod val="60000"/>
                    <a:lumOff val="40000"/>
                  </a:schemeClr>
                </a:solidFill>
                <a:latin typeface="Franklin Gothic Book" panose="020B050302010202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1CD3974-176A-43B6-8E60-33BCD19BBC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521874473"/>
      </p:ext>
    </p:extLst>
  </p:cSld>
  <p:clrMapOvr>
    <a:masterClrMapping/>
  </p:clrMapOvr>
  <p:hf hd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925261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C7BEB73-A27D-4B04-A133-510ECB47E91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727F30D-9242-4A88-9322-2EDE74F75B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1BEDEA-6CDE-421B-87A1-0632A5F947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3135726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163334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Lef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517025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8FBABF1-7718-43F6-B247-8269F95D22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5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8429EF-F441-3040-BB9E-07E66E2B2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142" y="2546064"/>
            <a:ext cx="3032465" cy="176586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45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E6F1C9-C479-4E50-B466-BBB81EB0E1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8367549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Blu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57473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AAE3F72-88DF-4B4D-99C2-2DFE1EFB16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6098537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7F38A5-E451-48CD-9B09-4D22AB98C6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923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2586D8-6C60-41B6-B276-7BF701FEA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5163309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6990984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882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148355-9A23-4C82-8F0E-F21594843C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1F99190-1A65-41A8-BBA7-98BD441A8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50D61507-3612-4ECE-96B7-0F9C15D342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CE9086E-00AC-4525-B7C4-F51B01FEA197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F2864F8-CE03-42D9-A1C6-49C13A90928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DDB86A9-D96F-4924-9B1A-50C360C15742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86074501-3762-407F-A74D-3799FEAFBD37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3D29F00-385D-4638-BD08-A8B98A323401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E2A3DD6C-1362-40F5-A7B3-2E963C5D94FF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6616E241-6E09-4071-B657-CE4E7BB5CD37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6A9939C2-C1A3-49F7-A69F-F2E83814F06B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C6484D2-FDEB-453B-ACAB-605BDF0437F1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E626162E-D8C5-4F77-A6A1-E2B6C7CABFC3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6446D18-F2A6-4A1D-9193-2C1738C1053D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6A74D8F-C94B-4FE0-9FED-86918ACD7711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FE130351-367D-46DC-AEF2-11BF681D6F21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1295B187-375A-4BC1-8930-8B6FB7B25415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987C9E7-CE53-4EC9-8C60-48477925BADC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9" name="Copyright">
              <a:extLst>
                <a:ext uri="{FF2B5EF4-FFF2-40B4-BE49-F238E27FC236}">
                  <a16:creationId xmlns:a16="http://schemas.microsoft.com/office/drawing/2014/main" id="{7F3EFBBF-8F6E-4F95-970D-289D95FB3EDE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5693204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G (with 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08331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148355-9A23-4C82-8F0E-F21594843C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C27F5F1-6E1A-43D9-B04D-DEEBA03354E7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3878A702-A86E-4356-99F5-6CC007B3A84C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75A2218-59DA-4B99-8DEE-5DF1044A636F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E8F166A-EB8B-4235-A114-5C9D062319D5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2FC6C6B-C81D-4FE7-9F3B-65F6B734168D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8EBE5-A780-49FB-9EAB-A8F48E23FAC5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ADB921C-741F-494D-9C24-2E06B3F237E1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2CBAA18-CC04-464C-B2DA-F60F1DFE63B3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7D25102-BF68-4480-830D-1A1BE174C734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EE8638F-0CD8-4C03-9847-FAF25CBB620A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481A8A-8F5D-40BC-B59F-D4CEF2254BB7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50965BC-1532-45A0-8F0A-37DAEC7BBE6F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C1AF2FC-06E9-481D-AAD4-A185594C60F4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1342B2-AEC9-4B66-9503-4CFC2ED0B897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41AC723-9EBC-48CA-B1C7-D2D5419421B0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4" name="Copyright">
            <a:extLst>
              <a:ext uri="{FF2B5EF4-FFF2-40B4-BE49-F238E27FC236}">
                <a16:creationId xmlns:a16="http://schemas.microsoft.com/office/drawing/2014/main" id="{2B7A128F-26DE-473C-95DA-CCAF4D373141}"/>
              </a:ext>
            </a:extLst>
          </p:cNvPr>
          <p:cNvSpPr txBox="1"/>
          <p:nvPr userDrawn="1"/>
        </p:nvSpPr>
        <p:spPr>
          <a:xfrm rot="16200000">
            <a:off x="11250972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. All rights reserved.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1F99190-1A65-41A8-BBA7-98BD441A8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50D61507-3612-4ECE-96B7-0F9C15D342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EDF673-966E-4DCD-9A9F-89CC749ED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18576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290677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84101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E2B9A3-0AB0-4FA9-BE30-99B8A88EB1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8134763" y="-1"/>
            <a:ext cx="4059776" cy="6858001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454" y="6445295"/>
            <a:ext cx="15068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7BD8F9-1D4E-4291-8770-E69192472F2F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767490F9-4012-46F8-ABED-EB2AEB970D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BFAF012-FF52-4660-B1EB-E3DAD4E5D0D9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63A8AA3-AFD6-4F1D-95AB-D3C5F7E6A748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81A09B8-B6D7-496D-AC8E-E2CC99E1F047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77B1E538-1876-4C5E-8612-52D93329CC93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BEB775BB-2E5F-4B32-9B48-8DE1DD506FB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DF313EF-4694-4121-BF30-C1139E1F9D1C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F3BB4C7-5441-4DAF-B428-07833129A3C4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ADF2282-0F9C-41BD-8919-3F118F7AFA19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07EBF3C-B087-4F18-8637-DB3F73785049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FE95DEE8-DE4E-456F-B56B-0D9C34409112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34E317DF-5709-4B5E-A764-DBE2AC16DCAC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ABAA8A11-8055-4872-829E-9B4ACFB0448C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F3D0752F-4BE1-4DEA-9A91-C12628B9D905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27F6B00-C84C-430B-B7C2-DFB7384C7332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C86C1E6A-A2B0-4B52-82F6-EA7C2BB679FC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7" name="Copyright">
              <a:extLst>
                <a:ext uri="{FF2B5EF4-FFF2-40B4-BE49-F238E27FC236}">
                  <a16:creationId xmlns:a16="http://schemas.microsoft.com/office/drawing/2014/main" id="{6F9ADEBF-B227-47BA-9FFB-3881EE358DB3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D6CAC9C2-9DC0-4151-8814-3516E0ADB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7061683" cy="42229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057156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Blu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811140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C2C367-8056-426B-81B2-4B2C7238E5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6096000" y="-1"/>
            <a:ext cx="6098539" cy="6858001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454" y="6445295"/>
            <a:ext cx="15068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8C5468B-3210-455B-960F-ACC92937B434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D9F423ED-15C9-4DBA-A5CC-A74A55A44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623CBF1-457C-4491-90EE-6DE3BD9C2B8C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C5D61D5-4D53-4B2F-830C-7C2D09806F8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1E4918B8-A176-47C4-9264-39A91C78CD7E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3201241E-6654-4B58-A757-746A35947F4F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AC0D2E0D-CECA-462E-BAF3-CF92D72544E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A50CAD15-5BF3-4472-BDB9-3E3E4742DD64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C3511C1-3179-44B4-BB52-D2B10DA8A6E2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7DD1BCC-9230-417B-A5CC-E1D3F6F61041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7A77373-FE9B-46C2-BEB4-F8B0A94BD53E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CB8ABB54-E991-461F-9791-D895B90E6700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773B4D2-2297-4AFE-A952-85F190728CC5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E052044D-7360-4930-ACEF-75B0996C9E40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78EE721A-1842-4613-97C0-83F42E192EFE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E04EC6AA-4D0D-4D6B-A317-D59028CD1190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33B47ABB-E212-4C3A-93F4-8ECF298B2F14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8" name="Copyright">
              <a:extLst>
                <a:ext uri="{FF2B5EF4-FFF2-40B4-BE49-F238E27FC236}">
                  <a16:creationId xmlns:a16="http://schemas.microsoft.com/office/drawing/2014/main" id="{63A391B4-F2D4-4CEA-BB2D-6FE9C17F564E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93E1D190-1D55-4D58-B05F-8B0C78FE1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5123552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815065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er Slide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38369F-F8B4-42F9-9E33-ED43D3902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811257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38369F-F8B4-42F9-9E33-ED43D3902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6F88BD-D39D-4B55-A16B-68F5F7E3D6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9A2C76-32EA-4992-A965-D9260A5D160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82E60DA-1F02-9A45-8CE9-6CC78A3380F0}"/>
              </a:ext>
            </a:extLst>
          </p:cNvPr>
          <p:cNvSpPr/>
          <p:nvPr userDrawn="1"/>
        </p:nvSpPr>
        <p:spPr>
          <a:xfrm>
            <a:off x="1" y="0"/>
            <a:ext cx="2682587" cy="6858000"/>
          </a:xfrm>
          <a:prstGeom prst="rect">
            <a:avLst/>
          </a:prstGeom>
          <a:solidFill>
            <a:schemeClr val="bg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93BD1C-9237-8249-950A-62A7C86034D0}"/>
              </a:ext>
            </a:extLst>
          </p:cNvPr>
          <p:cNvSpPr/>
          <p:nvPr userDrawn="1"/>
        </p:nvSpPr>
        <p:spPr>
          <a:xfrm>
            <a:off x="1" y="3700464"/>
            <a:ext cx="9412014" cy="241458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410CA7A-4558-C443-9C75-2C8E863B7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592" y="4108436"/>
            <a:ext cx="8494899" cy="1569660"/>
          </a:xfrm>
          <a:effectLst>
            <a:outerShdw blurRad="1905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80000"/>
              </a:lnSpc>
              <a:defRPr lang="en-US" sz="60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A4D7170-2B51-4AFC-B047-0F5B3A69E471}"/>
              </a:ext>
            </a:extLst>
          </p:cNvPr>
          <p:cNvGrpSpPr/>
          <p:nvPr userDrawn="1"/>
        </p:nvGrpSpPr>
        <p:grpSpPr>
          <a:xfrm>
            <a:off x="11998459" y="6162188"/>
            <a:ext cx="68500" cy="441924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DD1615D-0D55-4B48-87A2-0F30A4E3D8E7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C8D3D7F-D19B-49DE-9CB3-221A0639516B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30BC6AD-EFFB-4263-A0EB-5A8265D4385C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341753F-E8F7-47E2-8A08-516073C6B573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3E2B82A-AA52-459B-A885-2C9E46A7CA08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DCD4539-FE2A-4741-BBEF-2BADE6F5B99D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3FB79E5-53C4-46E5-AAF3-BCDBDA5A2D1D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09CEBDE-5D0C-41B5-85C2-CBC9DA810EFB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887E364-69C8-42A1-811A-4726514CBCE3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8A0E0BB-B67F-4B6F-A66E-3D42CC14F9E7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97C39D0-A99F-467C-9FAD-1FEC939449C9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B512C9A-2B27-4460-B3C8-AA6460E8DA65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A1FA1F5-B76B-4B98-99DC-DD1D17B7F23E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7" name="Copyright">
            <a:extLst>
              <a:ext uri="{FF2B5EF4-FFF2-40B4-BE49-F238E27FC236}">
                <a16:creationId xmlns:a16="http://schemas.microsoft.com/office/drawing/2014/main" id="{EB60B0AE-F9C0-4FBF-9FE6-F8CE2ED57C40}"/>
              </a:ext>
            </a:extLst>
          </p:cNvPr>
          <p:cNvSpPr txBox="1"/>
          <p:nvPr userDrawn="1"/>
        </p:nvSpPr>
        <p:spPr>
          <a:xfrm rot="16200000">
            <a:off x="11250972" y="5290633"/>
            <a:ext cx="1567737" cy="110800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. All rights reserved.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B037CC6-E5CE-4CBE-B183-A4AF78E15E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99010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_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38369F-F8B4-42F9-9E33-ED43D3902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57384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38369F-F8B4-42F9-9E33-ED43D3902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6F88BD-D39D-4B55-A16B-68F5F7E3D6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E076F7-2F5B-46F9-A7D4-BCD4A1BF4FB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grayscl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5571307-B5A1-49FA-8B2A-10157FD7593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55000">
                <a:schemeClr val="tx2">
                  <a:lumMod val="75000"/>
                  <a:alpha val="90000"/>
                </a:schemeClr>
              </a:gs>
              <a:gs pos="85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410CA7A-4558-C443-9C75-2C8E863B7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effectLst>
            <a:outerShdw blurRad="1905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80000"/>
              </a:lnSpc>
              <a:defRPr lang="en-US" sz="60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B037CC6-E5CE-4CBE-B183-A4AF78E15E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90154" y="6465615"/>
            <a:ext cx="15068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B1B01B0-505C-4864-BC9B-FBCE18D02D9C}"/>
              </a:ext>
            </a:extLst>
          </p:cNvPr>
          <p:cNvCxnSpPr>
            <a:cxnSpLocks/>
          </p:cNvCxnSpPr>
          <p:nvPr userDrawn="1"/>
        </p:nvCxnSpPr>
        <p:spPr>
          <a:xfrm>
            <a:off x="992389" y="5712304"/>
            <a:ext cx="154246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5DDDC21-5EC0-4BC6-A759-2D861F3A42C0}"/>
              </a:ext>
            </a:extLst>
          </p:cNvPr>
          <p:cNvGrpSpPr/>
          <p:nvPr userDrawn="1"/>
        </p:nvGrpSpPr>
        <p:grpSpPr>
          <a:xfrm>
            <a:off x="11979362" y="4535497"/>
            <a:ext cx="110800" cy="2041948"/>
            <a:chOff x="11979439" y="4535495"/>
            <a:chExt cx="110801" cy="2041947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6CE34071-C191-4EA0-879B-938D0D7FB2DC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86C589D3-2A68-47B4-A186-DCD2A83FCFC8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BB41610-46EC-428B-835A-19794F87B288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335B418E-1CF7-49D6-9410-F4E0F9CA8FD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75874F1C-8BBD-43D9-9576-2326771CDA5E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41BF7ED0-D40C-414C-A361-03E0EC0CA1B8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0A1FE6F-2C49-4E56-BBB6-F7F2308FE7A5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8FE97711-BCB1-4A87-B444-FE49A24C954C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C90751F-BC28-4C38-9AEE-4FE522001DE3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4759EB0F-4722-48F9-98B5-35600B2F5F54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1E9ED425-DEE8-4FE5-B40D-E5D7FC3B173C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6FED47B5-7813-41FF-82AD-062C1EBA79EB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3412D8B3-B39C-4308-9921-278312CC9BDA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279E12B4-9493-4742-A8EB-9E495955EF01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34" name="Copyright">
              <a:extLst>
                <a:ext uri="{FF2B5EF4-FFF2-40B4-BE49-F238E27FC236}">
                  <a16:creationId xmlns:a16="http://schemas.microsoft.com/office/drawing/2014/main" id="{063EE5AF-0F23-4E4D-946B-2EF723C73A98}"/>
                </a:ext>
              </a:extLst>
            </p:cNvPr>
            <p:cNvSpPr txBox="1"/>
            <p:nvPr userDrawn="1"/>
          </p:nvSpPr>
          <p:spPr>
            <a:xfrm rot="16200000">
              <a:off x="11250972" y="5263962"/>
              <a:ext cx="1567736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0558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02073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3E76732-5A5F-B03D-320E-52CD6F1CBCF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43457" y="2592164"/>
            <a:ext cx="4386551" cy="164023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106A152-DC8B-0C47-8CFD-D99759D28F81}"/>
              </a:ext>
            </a:extLst>
          </p:cNvPr>
          <p:cNvSpPr txBox="1"/>
          <p:nvPr userDrawn="1"/>
        </p:nvSpPr>
        <p:spPr>
          <a:xfrm>
            <a:off x="550863" y="5965461"/>
            <a:ext cx="302948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1" i="0" u="none" dirty="0">
                <a:solidFill>
                  <a:schemeClr val="accent3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  <a:sym typeface="Calibri" panose="020F0502020204030204" pitchFamily="34" charset="0"/>
              </a:rPr>
              <a:t>www.infomineo.com</a:t>
            </a:r>
          </a:p>
          <a:p>
            <a:pPr algn="l"/>
            <a:r>
              <a:rPr lang="en-GB" sz="1200" b="0" i="0" dirty="0">
                <a:solidFill>
                  <a:schemeClr val="bg1"/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  <a:sym typeface="Calibri" panose="020F0502020204030204" pitchFamily="34" charset="0"/>
              </a:rPr>
              <a:t>Infomineo Copyright © 2023. All rights reserved.</a:t>
            </a:r>
          </a:p>
        </p:txBody>
      </p:sp>
      <p:pic>
        <p:nvPicPr>
          <p:cNvPr id="30" name="Picture 29">
            <a:hlinkClick r:id="rId7"/>
            <a:extLst>
              <a:ext uri="{FF2B5EF4-FFF2-40B4-BE49-F238E27FC236}">
                <a16:creationId xmlns:a16="http://schemas.microsoft.com/office/drawing/2014/main" id="{3ED467EF-C028-4376-B7C8-A8830D77CF7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3329" y="5965461"/>
            <a:ext cx="370332" cy="370332"/>
          </a:xfrm>
          <a:prstGeom prst="rect">
            <a:avLst/>
          </a:prstGeom>
        </p:spPr>
      </p:pic>
      <p:pic>
        <p:nvPicPr>
          <p:cNvPr id="32" name="Picture 31">
            <a:hlinkClick r:id="rId9"/>
            <a:extLst>
              <a:ext uri="{FF2B5EF4-FFF2-40B4-BE49-F238E27FC236}">
                <a16:creationId xmlns:a16="http://schemas.microsoft.com/office/drawing/2014/main" id="{3BF2889F-2FC0-49EE-9DAD-8868FC3BE52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965" y="5965461"/>
            <a:ext cx="368808" cy="370332"/>
          </a:xfrm>
          <a:prstGeom prst="rect">
            <a:avLst/>
          </a:prstGeom>
        </p:spPr>
      </p:pic>
      <p:pic>
        <p:nvPicPr>
          <p:cNvPr id="34" name="Picture 33">
            <a:hlinkClick r:id="rId11"/>
            <a:extLst>
              <a:ext uri="{FF2B5EF4-FFF2-40B4-BE49-F238E27FC236}">
                <a16:creationId xmlns:a16="http://schemas.microsoft.com/office/drawing/2014/main" id="{96507CF0-D683-43B8-9352-634205E2EC2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8600" y="5965461"/>
            <a:ext cx="368808" cy="37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837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365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188F3D-7189-4E9E-89E6-895DD2D93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8283623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>
            <a:extLst>
              <a:ext uri="{FF2B5EF4-FFF2-40B4-BE49-F238E27FC236}">
                <a16:creationId xmlns:a16="http://schemas.microsoft.com/office/drawing/2014/main" id="{C7E8C095-69F2-4BC8-964E-A1BFE9309E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833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9" name="Object 48" hidden="1">
                        <a:extLst>
                          <a:ext uri="{FF2B5EF4-FFF2-40B4-BE49-F238E27FC236}">
                            <a16:creationId xmlns:a16="http://schemas.microsoft.com/office/drawing/2014/main" id="{C7E8C095-69F2-4BC8-964E-A1BFE9309E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5F11C0-1445-4182-AF87-C63E0DB6C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7" name="Freeform: Shape 95">
            <a:extLst>
              <a:ext uri="{FF2B5EF4-FFF2-40B4-BE49-F238E27FC236}">
                <a16:creationId xmlns:a16="http://schemas.microsoft.com/office/drawing/2014/main" id="{E5A08834-247C-4C9E-93E7-8514C051C060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566584 w 12193200"/>
              <a:gd name="connsiteY0" fmla="*/ 549276 h 6858000"/>
              <a:gd name="connsiteX1" fmla="*/ 566584 w 12193200"/>
              <a:gd name="connsiteY1" fmla="*/ 6308726 h 6858000"/>
              <a:gd name="connsiteX2" fmla="*/ 11641138 w 12193200"/>
              <a:gd name="connsiteY2" fmla="*/ 6308726 h 6858000"/>
              <a:gd name="connsiteX3" fmla="*/ 11641138 w 12193200"/>
              <a:gd name="connsiteY3" fmla="*/ 549276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22800 h 6858000"/>
              <a:gd name="connsiteX7" fmla="*/ 12192000 w 12193200"/>
              <a:gd name="connsiteY7" fmla="*/ 622800 h 6858000"/>
              <a:gd name="connsiteX8" fmla="*/ 12192000 w 12193200"/>
              <a:gd name="connsiteY8" fmla="*/ 6160597 h 6858000"/>
              <a:gd name="connsiteX9" fmla="*/ 12193200 w 12193200"/>
              <a:gd name="connsiteY9" fmla="*/ 6160597 h 6858000"/>
              <a:gd name="connsiteX10" fmla="*/ 12193200 w 12193200"/>
              <a:gd name="connsiteY10" fmla="*/ 6858000 h 6858000"/>
              <a:gd name="connsiteX11" fmla="*/ 12192000 w 12193200"/>
              <a:gd name="connsiteY11" fmla="*/ 6858000 h 6858000"/>
              <a:gd name="connsiteX12" fmla="*/ 11562000 w 12193200"/>
              <a:gd name="connsiteY12" fmla="*/ 6858000 h 6858000"/>
              <a:gd name="connsiteX13" fmla="*/ 630001 w 12193200"/>
              <a:gd name="connsiteY13" fmla="*/ 6858000 h 6858000"/>
              <a:gd name="connsiteX14" fmla="*/ 1 w 12193200"/>
              <a:gd name="connsiteY14" fmla="*/ 6858000 h 6858000"/>
              <a:gd name="connsiteX15" fmla="*/ 1 w 12193200"/>
              <a:gd name="connsiteY15" fmla="*/ 6160597 h 6858000"/>
              <a:gd name="connsiteX16" fmla="*/ 1 w 12193200"/>
              <a:gd name="connsiteY16" fmla="*/ 622800 h 6858000"/>
              <a:gd name="connsiteX17" fmla="*/ 0 w 12193200"/>
              <a:gd name="connsiteY17" fmla="*/ 622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3200" h="685800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5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59B0D14-7DD8-45E2-B968-99300FF0D28D}"/>
              </a:ext>
            </a:extLst>
          </p:cNvPr>
          <p:cNvGrpSpPr/>
          <p:nvPr userDrawn="1"/>
        </p:nvGrpSpPr>
        <p:grpSpPr>
          <a:xfrm>
            <a:off x="-600" y="549275"/>
            <a:ext cx="12193200" cy="5759450"/>
            <a:chOff x="-600" y="549275"/>
            <a:chExt cx="12193200" cy="5759450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FD9771C-C32F-443B-97DA-AB808B787FCB}"/>
                </a:ext>
              </a:extLst>
            </p:cNvPr>
            <p:cNvCxnSpPr/>
            <p:nvPr/>
          </p:nvCxnSpPr>
          <p:spPr>
            <a:xfrm>
              <a:off x="-600" y="54927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ACFDCFA-8871-4375-9DD7-4FC5886280A9}"/>
                </a:ext>
              </a:extLst>
            </p:cNvPr>
            <p:cNvCxnSpPr/>
            <p:nvPr/>
          </p:nvCxnSpPr>
          <p:spPr>
            <a:xfrm>
              <a:off x="-600" y="1072861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BCC4B7F-FEF1-4EA1-831D-C9AA6F5F064E}"/>
                </a:ext>
              </a:extLst>
            </p:cNvPr>
            <p:cNvCxnSpPr/>
            <p:nvPr/>
          </p:nvCxnSpPr>
          <p:spPr>
            <a:xfrm>
              <a:off x="-600" y="1334654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81DCA16-8F73-4630-BDD0-2A70C4A58AB4}"/>
                </a:ext>
              </a:extLst>
            </p:cNvPr>
            <p:cNvCxnSpPr/>
            <p:nvPr/>
          </p:nvCxnSpPr>
          <p:spPr>
            <a:xfrm>
              <a:off x="-600" y="1596447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BC31EB1-B3A4-46CF-BFA4-063B67EE1C0D}"/>
                </a:ext>
              </a:extLst>
            </p:cNvPr>
            <p:cNvCxnSpPr/>
            <p:nvPr/>
          </p:nvCxnSpPr>
          <p:spPr>
            <a:xfrm>
              <a:off x="-600" y="1858240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93E6A85-DDE0-4463-B476-9FA784357023}"/>
                </a:ext>
              </a:extLst>
            </p:cNvPr>
            <p:cNvCxnSpPr/>
            <p:nvPr/>
          </p:nvCxnSpPr>
          <p:spPr>
            <a:xfrm>
              <a:off x="-600" y="2120033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A4D7F3C-5BD5-4AC2-88A1-966E801F5AED}"/>
                </a:ext>
              </a:extLst>
            </p:cNvPr>
            <p:cNvCxnSpPr/>
            <p:nvPr/>
          </p:nvCxnSpPr>
          <p:spPr>
            <a:xfrm>
              <a:off x="-600" y="2381826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2775BB7-F520-4F81-AF6D-F59D1B76F55E}"/>
                </a:ext>
              </a:extLst>
            </p:cNvPr>
            <p:cNvCxnSpPr/>
            <p:nvPr/>
          </p:nvCxnSpPr>
          <p:spPr>
            <a:xfrm>
              <a:off x="-600" y="2643619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CB72474-2AC2-420E-BDB5-E5A722B50684}"/>
                </a:ext>
              </a:extLst>
            </p:cNvPr>
            <p:cNvCxnSpPr/>
            <p:nvPr/>
          </p:nvCxnSpPr>
          <p:spPr>
            <a:xfrm>
              <a:off x="-600" y="2905412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7F88338-30AC-49A0-A5C4-EC7BD34E1FA6}"/>
                </a:ext>
              </a:extLst>
            </p:cNvPr>
            <p:cNvCxnSpPr/>
            <p:nvPr/>
          </p:nvCxnSpPr>
          <p:spPr>
            <a:xfrm>
              <a:off x="-600" y="316720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A4A82DD-B8CC-462B-93E9-CBC87352521F}"/>
                </a:ext>
              </a:extLst>
            </p:cNvPr>
            <p:cNvCxnSpPr/>
            <p:nvPr/>
          </p:nvCxnSpPr>
          <p:spPr>
            <a:xfrm>
              <a:off x="-600" y="342899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086DFAD-90A1-4761-A1F6-2CECC9F3CEB8}"/>
                </a:ext>
              </a:extLst>
            </p:cNvPr>
            <p:cNvCxnSpPr/>
            <p:nvPr/>
          </p:nvCxnSpPr>
          <p:spPr>
            <a:xfrm>
              <a:off x="-600" y="3690791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A73AC16-3E18-48F7-97ED-8B5A48560A3B}"/>
                </a:ext>
              </a:extLst>
            </p:cNvPr>
            <p:cNvCxnSpPr/>
            <p:nvPr/>
          </p:nvCxnSpPr>
          <p:spPr>
            <a:xfrm>
              <a:off x="-600" y="3952584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32B4CC9-D426-40F8-825B-C7E1196189B4}"/>
                </a:ext>
              </a:extLst>
            </p:cNvPr>
            <p:cNvCxnSpPr/>
            <p:nvPr/>
          </p:nvCxnSpPr>
          <p:spPr>
            <a:xfrm>
              <a:off x="-600" y="4214377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9DD5A36E-8435-4B1C-8462-1C956794FC17}"/>
                </a:ext>
              </a:extLst>
            </p:cNvPr>
            <p:cNvCxnSpPr/>
            <p:nvPr/>
          </p:nvCxnSpPr>
          <p:spPr>
            <a:xfrm>
              <a:off x="-600" y="4476170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D85A532-653B-4FD3-A2B9-908071F117D2}"/>
                </a:ext>
              </a:extLst>
            </p:cNvPr>
            <p:cNvCxnSpPr/>
            <p:nvPr/>
          </p:nvCxnSpPr>
          <p:spPr>
            <a:xfrm>
              <a:off x="-600" y="4737963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CDE1136A-6637-439F-89A7-D7F878D15199}"/>
                </a:ext>
              </a:extLst>
            </p:cNvPr>
            <p:cNvCxnSpPr/>
            <p:nvPr/>
          </p:nvCxnSpPr>
          <p:spPr>
            <a:xfrm>
              <a:off x="-600" y="4999756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4A0A4627-9F33-480E-B584-D2625F29AB95}"/>
                </a:ext>
              </a:extLst>
            </p:cNvPr>
            <p:cNvCxnSpPr/>
            <p:nvPr/>
          </p:nvCxnSpPr>
          <p:spPr>
            <a:xfrm>
              <a:off x="-600" y="5261549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49037A92-0EC2-4FBA-A847-8D0F6C45AD99}"/>
                </a:ext>
              </a:extLst>
            </p:cNvPr>
            <p:cNvCxnSpPr/>
            <p:nvPr/>
          </p:nvCxnSpPr>
          <p:spPr>
            <a:xfrm>
              <a:off x="-600" y="5523342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6B45D501-68B8-4FBE-8794-3CDE530B5439}"/>
                </a:ext>
              </a:extLst>
            </p:cNvPr>
            <p:cNvCxnSpPr/>
            <p:nvPr userDrawn="1"/>
          </p:nvCxnSpPr>
          <p:spPr>
            <a:xfrm>
              <a:off x="-600" y="578513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C63DF98-DC31-4B0A-9A94-9B9C493BD0DD}"/>
                </a:ext>
              </a:extLst>
            </p:cNvPr>
            <p:cNvCxnSpPr/>
            <p:nvPr userDrawn="1"/>
          </p:nvCxnSpPr>
          <p:spPr>
            <a:xfrm>
              <a:off x="-600" y="81106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D97F595-E8CD-4823-A296-F9B434149D35}"/>
                </a:ext>
              </a:extLst>
            </p:cNvPr>
            <p:cNvCxnSpPr/>
            <p:nvPr userDrawn="1"/>
          </p:nvCxnSpPr>
          <p:spPr>
            <a:xfrm>
              <a:off x="-600" y="630872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67767E29-78AA-446B-8F14-50FFE81A75D5}"/>
                </a:ext>
              </a:extLst>
            </p:cNvPr>
            <p:cNvCxnSpPr/>
            <p:nvPr userDrawn="1"/>
          </p:nvCxnSpPr>
          <p:spPr>
            <a:xfrm>
              <a:off x="-600" y="604692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Footnote measure">
            <a:extLst>
              <a:ext uri="{FF2B5EF4-FFF2-40B4-BE49-F238E27FC236}">
                <a16:creationId xmlns:a16="http://schemas.microsoft.com/office/drawing/2014/main" id="{FCB67C59-94A5-43D0-98F3-D2DF706BE6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50264" y="6308722"/>
            <a:ext cx="11090873" cy="261799"/>
          </a:xfrm>
          <a:prstGeom prst="rect">
            <a:avLst/>
          </a:prstGeom>
          <a:solidFill>
            <a:srgbClr val="FF0000">
              <a:alpha val="1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Whitespace measure">
            <a:extLst>
              <a:ext uri="{FF2B5EF4-FFF2-40B4-BE49-F238E27FC236}">
                <a16:creationId xmlns:a16="http://schemas.microsoft.com/office/drawing/2014/main" id="{B9FA0CC8-4D85-4377-9762-D979C28385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50864" y="1348222"/>
            <a:ext cx="11105556" cy="509202"/>
          </a:xfrm>
          <a:prstGeom prst="rect">
            <a:avLst/>
          </a:prstGeom>
          <a:solidFill>
            <a:srgbClr val="FF0000">
              <a:alpha val="5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Live area">
            <a:extLst>
              <a:ext uri="{FF2B5EF4-FFF2-40B4-BE49-F238E27FC236}">
                <a16:creationId xmlns:a16="http://schemas.microsoft.com/office/drawing/2014/main" id="{AA787823-C275-4031-9AC7-3513520EE759}"/>
              </a:ext>
            </a:extLst>
          </p:cNvPr>
          <p:cNvSpPr/>
          <p:nvPr userDrawn="1"/>
        </p:nvSpPr>
        <p:spPr>
          <a:xfrm>
            <a:off x="550864" y="2120034"/>
            <a:ext cx="11090275" cy="4188692"/>
          </a:xfrm>
          <a:custGeom>
            <a:avLst/>
            <a:gdLst>
              <a:gd name="connsiteX0" fmla="*/ 0 w 10931999"/>
              <a:gd name="connsiteY0" fmla="*/ 0 h 5537797"/>
              <a:gd name="connsiteX1" fmla="*/ 10931999 w 10931999"/>
              <a:gd name="connsiteY1" fmla="*/ 0 h 5537797"/>
              <a:gd name="connsiteX2" fmla="*/ 10931999 w 10931999"/>
              <a:gd name="connsiteY2" fmla="*/ 5537797 h 5537797"/>
              <a:gd name="connsiteX3" fmla="*/ 0 w 10931999"/>
              <a:gd name="connsiteY3" fmla="*/ 5537797 h 553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31999" h="5537797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>
            <a:solidFill>
              <a:schemeClr val="tx2">
                <a:alpha val="3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1AA03C-D537-4B50-8AA2-DE2B0859A9E0}"/>
              </a:ext>
            </a:extLst>
          </p:cNvPr>
          <p:cNvGrpSpPr/>
          <p:nvPr userDrawn="1"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  <a:solidFill>
            <a:schemeClr val="tx2">
              <a:lumMod val="40000"/>
              <a:lumOff val="60000"/>
              <a:alpha val="10000"/>
            </a:schemeClr>
          </a:solidFill>
        </p:grpSpPr>
        <p:sp>
          <p:nvSpPr>
            <p:cNvPr id="13" name="Rectangle 34">
              <a:extLst>
                <a:ext uri="{FF2B5EF4-FFF2-40B4-BE49-F238E27FC236}">
                  <a16:creationId xmlns:a16="http://schemas.microsoft.com/office/drawing/2014/main" id="{CEBF00D2-4B24-426D-BD4A-087B43FE3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Rectangle 35">
              <a:extLst>
                <a:ext uri="{FF2B5EF4-FFF2-40B4-BE49-F238E27FC236}">
                  <a16:creationId xmlns:a16="http://schemas.microsoft.com/office/drawing/2014/main" id="{6BD82B4A-4BB0-4614-B13C-4CFCC7A22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Rectangle 36">
              <a:extLst>
                <a:ext uri="{FF2B5EF4-FFF2-40B4-BE49-F238E27FC236}">
                  <a16:creationId xmlns:a16="http://schemas.microsoft.com/office/drawing/2014/main" id="{BF9ACD5F-BA8A-4218-BB75-6E90A13EF9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7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Rectangle 37">
              <a:extLst>
                <a:ext uri="{FF2B5EF4-FFF2-40B4-BE49-F238E27FC236}">
                  <a16:creationId xmlns:a16="http://schemas.microsoft.com/office/drawing/2014/main" id="{379A22D2-DA96-41ED-9D9E-1155426DFF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42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Rectangle 38">
              <a:extLst>
                <a:ext uri="{FF2B5EF4-FFF2-40B4-BE49-F238E27FC236}">
                  <a16:creationId xmlns:a16="http://schemas.microsoft.com/office/drawing/2014/main" id="{7EF7963D-A1E1-415D-8969-F027A75D12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Rectangle 39">
              <a:extLst>
                <a:ext uri="{FF2B5EF4-FFF2-40B4-BE49-F238E27FC236}">
                  <a16:creationId xmlns:a16="http://schemas.microsoft.com/office/drawing/2014/main" id="{BBE34D05-AF10-4FE9-A201-F9E2A8027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2839" y="549274"/>
              <a:ext cx="288000" cy="5759450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Rectangle 40">
              <a:extLst>
                <a:ext uri="{FF2B5EF4-FFF2-40B4-BE49-F238E27FC236}">
                  <a16:creationId xmlns:a16="http://schemas.microsoft.com/office/drawing/2014/main" id="{349BF860-A8A0-4AB9-B299-1AF824195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Rectangle 41">
              <a:extLst>
                <a:ext uri="{FF2B5EF4-FFF2-40B4-BE49-F238E27FC236}">
                  <a16:creationId xmlns:a16="http://schemas.microsoft.com/office/drawing/2014/main" id="{3E2A80A6-61F6-4E58-B43B-059CCD29C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2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Rectangle 42">
              <a:extLst>
                <a:ext uri="{FF2B5EF4-FFF2-40B4-BE49-F238E27FC236}">
                  <a16:creationId xmlns:a16="http://schemas.microsoft.com/office/drawing/2014/main" id="{0F927BDE-7613-4A1B-9405-C18A0AA02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Rectangle 43">
              <a:extLst>
                <a:ext uri="{FF2B5EF4-FFF2-40B4-BE49-F238E27FC236}">
                  <a16:creationId xmlns:a16="http://schemas.microsoft.com/office/drawing/2014/main" id="{9D0BF9DE-3D09-432F-B97F-D68AFE1C7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7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Rectangle 44">
              <a:extLst>
                <a:ext uri="{FF2B5EF4-FFF2-40B4-BE49-F238E27FC236}">
                  <a16:creationId xmlns:a16="http://schemas.microsoft.com/office/drawing/2014/main" id="{7807AD9B-3A59-4121-9F68-FB858FD6D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47" name="Footnote example">
            <a:extLst>
              <a:ext uri="{FF2B5EF4-FFF2-40B4-BE49-F238E27FC236}">
                <a16:creationId xmlns:a16="http://schemas.microsoft.com/office/drawing/2014/main" id="{DBF27226-1CAE-4EC3-B7C2-CD7BFF212B2F}"/>
              </a:ext>
            </a:extLst>
          </p:cNvPr>
          <p:cNvSpPr txBox="1"/>
          <p:nvPr userDrawn="1"/>
        </p:nvSpPr>
        <p:spPr>
          <a:xfrm>
            <a:off x="550863" y="6310249"/>
            <a:ext cx="9030915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Footnotes/Notes</a:t>
            </a:r>
          </a:p>
          <a:p>
            <a:pPr marL="0" marR="0" lvl="0" indent="0" algn="l" defTabSz="9144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Source: Include a source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491C5D-1CCA-4AD2-960D-E2D2520D37E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490154" y="6450226"/>
            <a:ext cx="150682" cy="15388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2547BBBC-05CB-49BC-A9CC-2D869F0C1D2C}" type="slidenum">
              <a:rPr lang="en-IN" smtClean="0"/>
              <a:pPr/>
              <a:t>‹#›</a:t>
            </a:fld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A5092CC-99B7-42FA-B922-D9A469AA61A3}"/>
              </a:ext>
            </a:extLst>
          </p:cNvPr>
          <p:cNvGrpSpPr/>
          <p:nvPr userDrawn="1"/>
        </p:nvGrpSpPr>
        <p:grpSpPr>
          <a:xfrm>
            <a:off x="550864" y="6156604"/>
            <a:ext cx="11089971" cy="55199"/>
            <a:chOff x="550864" y="6156603"/>
            <a:chExt cx="11089971" cy="55199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7D78F6B-68EA-4677-8270-E6CE44B4A9DC}"/>
                </a:ext>
              </a:extLst>
            </p:cNvPr>
            <p:cNvSpPr/>
            <p:nvPr userDrawn="1"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6E6D155-C668-4620-947B-CD6756DB3E3F}"/>
                </a:ext>
              </a:extLst>
            </p:cNvPr>
            <p:cNvSpPr/>
            <p:nvPr userDrawn="1"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3A33606-AE46-4272-A076-D6F1DEF2BE14}"/>
                </a:ext>
              </a:extLst>
            </p:cNvPr>
            <p:cNvSpPr/>
            <p:nvPr userDrawn="1"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7AF00D4-2C2C-4B64-AC48-30E76E740B68}"/>
                </a:ext>
              </a:extLst>
            </p:cNvPr>
            <p:cNvSpPr/>
            <p:nvPr userDrawn="1"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53F07A3-100A-4285-8103-25EB4F518B92}"/>
                </a:ext>
              </a:extLst>
            </p:cNvPr>
            <p:cNvSpPr/>
            <p:nvPr userDrawn="1"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C3F2152-358B-4AF4-9E4C-FFC021458588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EE3E2D1-AA6B-4858-AEA5-CA4E153942A1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8F01DC23-2710-4E23-8ECF-D42A01049798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625F897C-F6DC-43F6-83A9-103566BB7B1A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297483D6-4F68-4046-9938-3975F46B128B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0260B8F-626E-4F6C-82D6-73BBB93D898A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C8041FBB-4E11-4186-939C-922BB885CE7F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B9D46F4-06A5-41BD-A370-19C37CA28B53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B4380E05-CB91-42D7-A593-68D7E79B69EF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D399139-04A8-4906-A0E9-F32ED37B1DB5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E2C3744-960D-4FE8-A425-0A1BCCBFDCE3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656CA51-5E36-4B65-AAB5-604B2FFF1CA6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BEF9EA6-DC0A-4745-950A-75EB35C11A83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C185182D-9507-4706-B5C3-7D60904B8C41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DC967172-2751-4E17-ACEB-B9AC16A1C8EE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B1C13260-A832-4897-8C2A-B004FA9AB5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59" name="Copyright">
              <a:extLst>
                <a:ext uri="{FF2B5EF4-FFF2-40B4-BE49-F238E27FC236}">
                  <a16:creationId xmlns:a16="http://schemas.microsoft.com/office/drawing/2014/main" id="{4E29D673-EFE2-4CE9-96D3-54B928054039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9679ACBB-550D-47A2-9ADD-A6C09F32A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9"/>
            <a:ext cx="11089972" cy="44318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IN"/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A9FA602-B0B9-4981-B1E1-9FFC8BD86320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662294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ue Layout" preserve="1">
  <p:cSld name="Blue Layou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8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2" tIns="45699" rIns="91422" bIns="45699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0" name="Google Shape;50;p83"/>
          <p:cNvGrpSpPr/>
          <p:nvPr/>
        </p:nvGrpSpPr>
        <p:grpSpPr>
          <a:xfrm>
            <a:off x="11998459" y="6162189"/>
            <a:ext cx="68500" cy="441925"/>
            <a:chOff x="11998459" y="6162188"/>
            <a:chExt cx="68500" cy="441925"/>
          </a:xfrm>
        </p:grpSpPr>
        <p:sp>
          <p:nvSpPr>
            <p:cNvPr id="51" name="Google Shape;51;p83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83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83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83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83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83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83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83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83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83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83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62;p83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63;p83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" name="Google Shape;64;p83"/>
          <p:cNvSpPr txBox="1"/>
          <p:nvPr/>
        </p:nvSpPr>
        <p:spPr>
          <a:xfrm rot="-5400000">
            <a:off x="11250972" y="5290632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0" dirty="0"/>
          </a:p>
        </p:txBody>
      </p:sp>
      <p:sp>
        <p:nvSpPr>
          <p:cNvPr id="65" name="Google Shape;65;p83"/>
          <p:cNvSpPr txBox="1">
            <a:spLocks noGrp="1"/>
          </p:cNvSpPr>
          <p:nvPr>
            <p:ph type="ftr" idx="11"/>
          </p:nvPr>
        </p:nvSpPr>
        <p:spPr>
          <a:xfrm>
            <a:off x="550863" y="6429937"/>
            <a:ext cx="955390" cy="1538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83"/>
          <p:cNvSpPr txBox="1">
            <a:spLocks noGrp="1"/>
          </p:cNvSpPr>
          <p:nvPr>
            <p:ph type="sldNum" idx="12"/>
          </p:nvPr>
        </p:nvSpPr>
        <p:spPr>
          <a:xfrm>
            <a:off x="11490154" y="6465614"/>
            <a:ext cx="150682" cy="1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66634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7231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C7EB34-6497-4D19-B99E-5F4D7F924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4" r="-1" b="-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0270E3B-760C-41F0-B9D6-A2E014047679}"/>
              </a:ext>
            </a:extLst>
          </p:cNvPr>
          <p:cNvSpPr/>
          <p:nvPr userDrawn="1"/>
        </p:nvSpPr>
        <p:spPr>
          <a:xfrm>
            <a:off x="536449" y="0"/>
            <a:ext cx="6363291" cy="147521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45000">
                <a:schemeClr val="tx2">
                  <a:lumMod val="50000"/>
                  <a:alpha val="90000"/>
                </a:schemeClr>
              </a:gs>
              <a:gs pos="100000">
                <a:schemeClr val="tx2">
                  <a:lumMod val="75000"/>
                  <a:alpha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1844677"/>
            <a:ext cx="6363291" cy="501332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b="0" cap="none" baseline="0" dirty="0">
                <a:solidFill>
                  <a:schemeClr val="bg1"/>
                </a:solidFill>
                <a:latin typeface="Franklin Gothic Demi" panose="020B07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73CF3BF-BC79-895D-2080-23B54D7D49E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5582" y="172909"/>
            <a:ext cx="2992347" cy="1118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56087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2521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 descr="A person holding a phone&#10;&#10;Description automatically generated with low confidence">
            <a:extLst>
              <a:ext uri="{FF2B5EF4-FFF2-40B4-BE49-F238E27FC236}">
                <a16:creationId xmlns:a16="http://schemas.microsoft.com/office/drawing/2014/main" id="{E6014E73-E918-7E3B-1116-0A79F39C8C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22" t="-1" r="21590"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0270E3B-760C-41F0-B9D6-A2E014047679}"/>
              </a:ext>
            </a:extLst>
          </p:cNvPr>
          <p:cNvSpPr/>
          <p:nvPr userDrawn="1"/>
        </p:nvSpPr>
        <p:spPr>
          <a:xfrm>
            <a:off x="536449" y="0"/>
            <a:ext cx="6363291" cy="147521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45000">
                <a:schemeClr val="tx2">
                  <a:lumMod val="50000"/>
                  <a:alpha val="90000"/>
                </a:schemeClr>
              </a:gs>
              <a:gs pos="100000">
                <a:schemeClr val="tx2">
                  <a:lumMod val="75000"/>
                  <a:alpha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CEEA00B-DE05-BC01-6E87-AC9F343D546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5582" y="172909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C7EB34-6497-4D19-B99E-5F4D7F924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1844677"/>
            <a:ext cx="6363291" cy="501332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b="0" cap="none" baseline="0" dirty="0">
                <a:solidFill>
                  <a:schemeClr val="bg1"/>
                </a:solidFill>
                <a:latin typeface="Franklin Gothic Demi" panose="020B07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  <a:endParaRPr lang="en-US" dirty="0"/>
          </a:p>
        </p:txBody>
      </p:sp>
      <p:grpSp>
        <p:nvGrpSpPr>
          <p:cNvPr id="7" name="Google Shape;36;p40">
            <a:extLst>
              <a:ext uri="{FF2B5EF4-FFF2-40B4-BE49-F238E27FC236}">
                <a16:creationId xmlns:a16="http://schemas.microsoft.com/office/drawing/2014/main" id="{71CB15B7-864A-9DC1-657D-C5E29829C0C4}"/>
              </a:ext>
            </a:extLst>
          </p:cNvPr>
          <p:cNvGrpSpPr/>
          <p:nvPr userDrawn="1"/>
        </p:nvGrpSpPr>
        <p:grpSpPr>
          <a:xfrm>
            <a:off x="11998460" y="6162190"/>
            <a:ext cx="68500" cy="441924"/>
            <a:chOff x="11998459" y="6162188"/>
            <a:chExt cx="68500" cy="441925"/>
          </a:xfrm>
        </p:grpSpPr>
        <p:sp>
          <p:nvSpPr>
            <p:cNvPr id="8" name="Google Shape;37;p40">
              <a:extLst>
                <a:ext uri="{FF2B5EF4-FFF2-40B4-BE49-F238E27FC236}">
                  <a16:creationId xmlns:a16="http://schemas.microsoft.com/office/drawing/2014/main" id="{EA80B92E-3B36-97BC-4D57-7347B591B62F}"/>
                </a:ext>
              </a:extLst>
            </p:cNvPr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8;p40">
              <a:extLst>
                <a:ext uri="{FF2B5EF4-FFF2-40B4-BE49-F238E27FC236}">
                  <a16:creationId xmlns:a16="http://schemas.microsoft.com/office/drawing/2014/main" id="{4995F9A6-17AD-A39B-8EA7-0DE7FBFF28FE}"/>
                </a:ext>
              </a:extLst>
            </p:cNvPr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9;p40">
              <a:extLst>
                <a:ext uri="{FF2B5EF4-FFF2-40B4-BE49-F238E27FC236}">
                  <a16:creationId xmlns:a16="http://schemas.microsoft.com/office/drawing/2014/main" id="{34E53C25-2166-CAC6-9E8F-A0BE178603EB}"/>
                </a:ext>
              </a:extLst>
            </p:cNvPr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40;p40">
              <a:extLst>
                <a:ext uri="{FF2B5EF4-FFF2-40B4-BE49-F238E27FC236}">
                  <a16:creationId xmlns:a16="http://schemas.microsoft.com/office/drawing/2014/main" id="{5B114610-DBFE-CDA2-3B7A-F0C2EE7DB0A5}"/>
                </a:ext>
              </a:extLst>
            </p:cNvPr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41;p40">
              <a:extLst>
                <a:ext uri="{FF2B5EF4-FFF2-40B4-BE49-F238E27FC236}">
                  <a16:creationId xmlns:a16="http://schemas.microsoft.com/office/drawing/2014/main" id="{7D0C0229-5440-8189-5503-5D9E544B57CA}"/>
                </a:ext>
              </a:extLst>
            </p:cNvPr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42;p40">
              <a:extLst>
                <a:ext uri="{FF2B5EF4-FFF2-40B4-BE49-F238E27FC236}">
                  <a16:creationId xmlns:a16="http://schemas.microsoft.com/office/drawing/2014/main" id="{FC619FBD-843D-EBA5-67AB-147D3A892EE3}"/>
                </a:ext>
              </a:extLst>
            </p:cNvPr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43;p40">
              <a:extLst>
                <a:ext uri="{FF2B5EF4-FFF2-40B4-BE49-F238E27FC236}">
                  <a16:creationId xmlns:a16="http://schemas.microsoft.com/office/drawing/2014/main" id="{CCC34957-9A7C-0763-8B57-5A07BF04DFF2}"/>
                </a:ext>
              </a:extLst>
            </p:cNvPr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44;p40">
              <a:extLst>
                <a:ext uri="{FF2B5EF4-FFF2-40B4-BE49-F238E27FC236}">
                  <a16:creationId xmlns:a16="http://schemas.microsoft.com/office/drawing/2014/main" id="{AFA1F52E-53BE-E294-409A-0652228C6A15}"/>
                </a:ext>
              </a:extLst>
            </p:cNvPr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45;p40">
              <a:extLst>
                <a:ext uri="{FF2B5EF4-FFF2-40B4-BE49-F238E27FC236}">
                  <a16:creationId xmlns:a16="http://schemas.microsoft.com/office/drawing/2014/main" id="{E3E692E2-49D9-5C5D-0473-3946E393C3DF}"/>
                </a:ext>
              </a:extLst>
            </p:cNvPr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46;p40">
              <a:extLst>
                <a:ext uri="{FF2B5EF4-FFF2-40B4-BE49-F238E27FC236}">
                  <a16:creationId xmlns:a16="http://schemas.microsoft.com/office/drawing/2014/main" id="{3184E9C6-3ECC-49EC-2BCB-E2FD9A3F5F76}"/>
                </a:ext>
              </a:extLst>
            </p:cNvPr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47;p40">
              <a:extLst>
                <a:ext uri="{FF2B5EF4-FFF2-40B4-BE49-F238E27FC236}">
                  <a16:creationId xmlns:a16="http://schemas.microsoft.com/office/drawing/2014/main" id="{44E2B659-1506-7949-0B17-5E4459601EB9}"/>
                </a:ext>
              </a:extLst>
            </p:cNvPr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48;p40">
              <a:extLst>
                <a:ext uri="{FF2B5EF4-FFF2-40B4-BE49-F238E27FC236}">
                  <a16:creationId xmlns:a16="http://schemas.microsoft.com/office/drawing/2014/main" id="{CC6ED06C-97E6-48AB-E9A5-1D80DD743E7B}"/>
                </a:ext>
              </a:extLst>
            </p:cNvPr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49;p40">
              <a:extLst>
                <a:ext uri="{FF2B5EF4-FFF2-40B4-BE49-F238E27FC236}">
                  <a16:creationId xmlns:a16="http://schemas.microsoft.com/office/drawing/2014/main" id="{2820FE41-EED0-281E-DD24-13E298BB539A}"/>
                </a:ext>
              </a:extLst>
            </p:cNvPr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" name="Google Shape;50;p40">
            <a:extLst>
              <a:ext uri="{FF2B5EF4-FFF2-40B4-BE49-F238E27FC236}">
                <a16:creationId xmlns:a16="http://schemas.microsoft.com/office/drawing/2014/main" id="{0CE85B7A-8B69-DC97-F849-280347C23F9A}"/>
              </a:ext>
            </a:extLst>
          </p:cNvPr>
          <p:cNvSpPr txBox="1"/>
          <p:nvPr userDrawn="1"/>
        </p:nvSpPr>
        <p:spPr>
          <a:xfrm rot="-5400000">
            <a:off x="11250972" y="5290634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IN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1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385960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64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A415120D-3668-49C1-AE11-A5139E17FB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4" t="3933" r="2214" b="3933"/>
          <a:stretch/>
        </p:blipFill>
        <p:spPr>
          <a:xfrm>
            <a:off x="269998" y="270000"/>
            <a:ext cx="11652001" cy="631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BE857BB-5DDF-4AEA-8F22-D5F9820E5C07}"/>
              </a:ext>
            </a:extLst>
          </p:cNvPr>
          <p:cNvSpPr/>
          <p:nvPr userDrawn="1"/>
        </p:nvSpPr>
        <p:spPr>
          <a:xfrm>
            <a:off x="536449" y="540000"/>
            <a:ext cx="6363891" cy="631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6B2B309-DF2B-9D8F-69F9-E990D37D8E9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1261" y="622237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4A727BF-EF41-4850-A868-11C0325A6C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6" y="3066686"/>
            <a:ext cx="5337943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6" y="4348579"/>
            <a:ext cx="5337943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923690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66287022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28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7" t="8006" r="4517" b="8006"/>
          <a:stretch/>
        </p:blipFill>
        <p:spPr>
          <a:xfrm>
            <a:off x="550861" y="549275"/>
            <a:ext cx="11090276" cy="575945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A92DE9B-D3C3-4D9E-909D-59D0ACABEB18}"/>
              </a:ext>
            </a:extLst>
          </p:cNvPr>
          <p:cNvSpPr/>
          <p:nvPr userDrawn="1"/>
        </p:nvSpPr>
        <p:spPr>
          <a:xfrm>
            <a:off x="1083553" y="1080000"/>
            <a:ext cx="5816186" cy="577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50F7501-6EC7-1AC7-42E0-4E0B8DEC262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47078" y="1317829"/>
            <a:ext cx="2992347" cy="1118907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C3BFC25-365A-4293-AFC3-06979C33ED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31950" y="5778001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1951" y="3610939"/>
            <a:ext cx="4799330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1951" y="4892832"/>
            <a:ext cx="4799330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2481916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923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5627" r="-1" b="6561"/>
          <a:stretch/>
        </p:blipFill>
        <p:spPr>
          <a:xfrm>
            <a:off x="0" y="1522048"/>
            <a:ext cx="12192000" cy="533595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36449" y="0"/>
            <a:ext cx="6363291" cy="630872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39000">
                <a:schemeClr val="tx2">
                  <a:lumMod val="75000"/>
                  <a:alpha val="95000"/>
                </a:schemeClr>
              </a:gs>
              <a:gs pos="7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683BD48-CFDF-B684-1DAD-50E88FF5A58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0382" y="148436"/>
            <a:ext cx="3231114" cy="1208188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14727E-8174-4A53-8CD1-66A25E0EEA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2897" y="3066686"/>
            <a:ext cx="5478239" cy="123110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000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4800"/>
              </a:lnSpc>
            </a:pPr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2897" y="4348579"/>
            <a:ext cx="5478239" cy="2923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000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28602" lvl="0" indent="-228602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2896" y="5842431"/>
            <a:ext cx="354392" cy="1938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40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28602" indent="-228602">
              <a:lnSpc>
                <a:spcPct val="90000"/>
              </a:lnSpc>
              <a:spcBef>
                <a:spcPts val="1000"/>
              </a:spcBef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2750425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 preserve="1">
  <p:cSld name="Breaker Slide_1">
    <p:bg>
      <p:bgPr>
        <a:solidFill>
          <a:schemeClr val="lt2"/>
        </a:solidFill>
        <a:effectLst/>
      </p:bgPr>
    </p:bg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FFEEBE7-590A-7C8C-78C2-DFD25580D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778059"/>
              </p:ext>
            </p:extLst>
          </p:nvPr>
        </p:nvGraphicFramePr>
        <p:xfrm>
          <a:off x="1440" y="1440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FFEEBE7-590A-7C8C-78C2-DFD25580D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40" y="1440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Google Shape;33;p40" descr="A picture containing graphical user interface&#10;&#10;Description automatically generated"/>
          <p:cNvPicPr preferRelativeResize="0"/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/>
          <a:stretch/>
        </p:blipFill>
        <p:spPr>
          <a:xfrm>
            <a:off x="1" y="-6562"/>
            <a:ext cx="12192000" cy="6864562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40"/>
          <p:cNvSpPr/>
          <p:nvPr/>
        </p:nvSpPr>
        <p:spPr>
          <a:xfrm>
            <a:off x="0" y="3853544"/>
            <a:ext cx="6240464" cy="2261507"/>
          </a:xfrm>
          <a:prstGeom prst="rect">
            <a:avLst/>
          </a:prstGeom>
          <a:gradFill>
            <a:gsLst>
              <a:gs pos="0">
                <a:srgbClr val="062379">
                  <a:alpha val="80000"/>
                </a:srgbClr>
              </a:gs>
              <a:gs pos="55000">
                <a:srgbClr val="385ED2">
                  <a:alpha val="80000"/>
                </a:srgbClr>
              </a:gs>
              <a:gs pos="76000">
                <a:srgbClr val="4873F5">
                  <a:alpha val="80000"/>
                </a:srgbClr>
              </a:gs>
              <a:gs pos="100000">
                <a:srgbClr val="43E1D3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40"/>
          <p:cNvSpPr txBox="1">
            <a:spLocks noGrp="1"/>
          </p:cNvSpPr>
          <p:nvPr>
            <p:ph type="title"/>
          </p:nvPr>
        </p:nvSpPr>
        <p:spPr>
          <a:xfrm>
            <a:off x="589046" y="4638134"/>
            <a:ext cx="5400674" cy="692323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4999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grpSp>
        <p:nvGrpSpPr>
          <p:cNvPr id="36" name="Google Shape;36;p40"/>
          <p:cNvGrpSpPr/>
          <p:nvPr/>
        </p:nvGrpSpPr>
        <p:grpSpPr>
          <a:xfrm>
            <a:off x="11998460" y="6162190"/>
            <a:ext cx="68500" cy="441924"/>
            <a:chOff x="11998459" y="6162188"/>
            <a:chExt cx="68500" cy="441925"/>
          </a:xfrm>
        </p:grpSpPr>
        <p:sp>
          <p:nvSpPr>
            <p:cNvPr id="37" name="Google Shape;37;p40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8;p40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9;p40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40;p40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41;p40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42;p40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43;p40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44;p40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45;p40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46;p40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40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48;p40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49;p40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1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" name="Google Shape;50;p40"/>
          <p:cNvSpPr txBox="1"/>
          <p:nvPr/>
        </p:nvSpPr>
        <p:spPr>
          <a:xfrm rot="-5400000">
            <a:off x="11250972" y="5290634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IN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1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51;p40"/>
          <p:cNvSpPr txBox="1">
            <a:spLocks noGrp="1"/>
          </p:cNvSpPr>
          <p:nvPr>
            <p:ph type="sldNum" idx="12"/>
          </p:nvPr>
        </p:nvSpPr>
        <p:spPr>
          <a:xfrm>
            <a:off x="11490154" y="6465614"/>
            <a:ext cx="150682" cy="1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4151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v="urn:schemas-microsoft-com:vml" xmlns:pvml="urn:schemas-microsoft-com:office:powerpoint" xmlns:p15="http://schemas.microsoft.com/office/powerpoint/2012/main" xmlns:o="urn:schemas-microsoft-com:office:office" xmlns:mv="urn:schemas-microsoft-com:mac:vml" xmlns:dgm="http://schemas.openxmlformats.org/drawingml/2006/diagram" xmlns:com="http://schemas.openxmlformats.org/drawingml/2006/compatibility" xmlns:c="http://schemas.openxmlformats.org/drawingml/2006/chart" xmlns:ahyp="http://schemas.microsoft.com/office/drawing/2018/hyperlinkcolor"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215EE13-6A4D-48C2-A4B1-30DA07094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560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215EE13-6A4D-48C2-A4B1-30DA07094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863ADCA1-24FF-455B-8752-270197618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2229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latin typeface="Franklin Gothic Demi" panose="020B070302010202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7DA5DEC-E51B-46CB-9299-8778528682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1814" y="1028324"/>
            <a:ext cx="11089972" cy="292388"/>
          </a:xfrm>
        </p:spPr>
        <p:txBody>
          <a:bodyPr>
            <a:spAutoFit/>
          </a:bodyPr>
          <a:lstStyle>
            <a:lvl1pPr>
              <a:defRPr sz="2000">
                <a:solidFill>
                  <a:schemeClr val="tx2">
                    <a:lumMod val="60000"/>
                    <a:lumOff val="40000"/>
                  </a:schemeClr>
                </a:solidFill>
                <a:latin typeface="Franklin Gothic Book" panose="020B050302010202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1CD3974-176A-43B6-8E60-33BCD19BBC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922075125"/>
      </p:ext>
    </p:extLst>
  </p:cSld>
  <p:clrMapOvr>
    <a:masterClrMapping/>
  </p:clrMapOvr>
  <p:hf hd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365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188F3D-7189-4E9E-89E6-895DD2D93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8480033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ith backgroun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261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5A3ACF9-E695-4094-9A16-A4F48EC9FF1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7D7FE3-E237-42E3-89BE-6BCC588B6C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30958487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ith backgroun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261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5A3ACF9-E695-4094-9A16-A4F48EC9FF1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7D7FE3-E237-42E3-89BE-6BCC588B6C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7355476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785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4C70F-8641-4AD5-A3F6-0EBA9C54EA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3EF22FF7-C1AC-4F2A-9E98-236284660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4D4977A-6637-4106-96DA-BDAAC2518559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74D7535-DD55-4BCD-A913-9F98A80E2AAD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25BE1D1D-5C46-42D6-AA46-FD5902FDE024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A7F7D663-CB75-456D-911A-BD2A8F59B130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97E6936-7A47-4E85-B003-37AE13A73F22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B6F6AB7C-E8B0-4611-A905-F86C05FEC940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504CE7F7-478B-4DFB-A021-80071B529493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522A9F9-C26A-4B72-93CD-9528636133FE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D674410-4755-485D-BEA6-A9EE31599080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52F1A2D-9FF5-49A3-B11A-A842CB94EEE7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7660309-3ECC-487F-9D6C-08DE732EEA92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29373EC6-22EE-4AE8-A986-A3662C2AF607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EF08C567-10B3-494B-8347-38E808F75B2A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107EA0CD-BF40-4B85-88B1-06D5221EA25F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580E308-C62A-4BCD-993B-AFE1C3E57E94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836F53DC-0C00-4681-ADA4-58AABB9FD0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40" name="Copyright">
              <a:extLst>
                <a:ext uri="{FF2B5EF4-FFF2-40B4-BE49-F238E27FC236}">
                  <a16:creationId xmlns:a16="http://schemas.microsoft.com/office/drawing/2014/main" id="{36107045-99BA-4480-99BA-1F7D50690723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0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026872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623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88B1CBF-9B2F-4725-98BB-E3D2571154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2175804"/>
            <a:ext cx="54006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857376"/>
            <a:ext cx="5400675" cy="263149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4" y="2175804"/>
            <a:ext cx="54006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464" y="1857376"/>
            <a:ext cx="5400675" cy="263149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56E97DD-069F-4133-A109-0593CB969E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8265676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8172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2476173-BEA2-49BD-B5FE-C9602A2A7D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5" y="2175804"/>
            <a:ext cx="3506976" cy="1177245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 smtClean="0"/>
            </a:lvl2pPr>
            <a:lvl3pPr marL="179388" indent="0">
              <a:buNone/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857376"/>
            <a:ext cx="35069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35839" y="2175804"/>
            <a:ext cx="35053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35839" y="1857376"/>
            <a:ext cx="35053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59121794-F5DD-4A31-9CFD-38DDBBCF1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44162" y="2175804"/>
            <a:ext cx="35053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3143DD43-CBE6-4068-87AB-C994C18915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4162" y="1857376"/>
            <a:ext cx="35053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9CDC1BE-F1D3-4AAB-9527-98835405BA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42535380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911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14B796-0A71-42E1-B6EB-B6B2B79412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4" y="2175804"/>
            <a:ext cx="2559476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857376"/>
            <a:ext cx="25594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4" y="2175804"/>
            <a:ext cx="25548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464" y="1857376"/>
            <a:ext cx="2554875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475C8AB-1FCD-402F-8C3E-9BA6CE42B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4" y="2175804"/>
            <a:ext cx="2559476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35FA198-8A13-4A8F-B4EE-49845B8E8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5664" y="1857376"/>
            <a:ext cx="2559476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6ACE083-C86D-45ED-8C11-019550696D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86263" y="2175804"/>
            <a:ext cx="2554875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29247DB4-9C96-4895-AABD-422C522A97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6263" y="1857376"/>
            <a:ext cx="2554875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0B9447C-186B-4C6F-929F-503046B2C3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35587694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3416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F80F200-6A77-426D-879D-7C93BD8B9F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5" y="2175804"/>
            <a:ext cx="19836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857376"/>
            <a:ext cx="19836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4050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4050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475C8AB-1FCD-402F-8C3E-9BA6CE42B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27458" y="2175804"/>
            <a:ext cx="1983600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 marL="179388" indent="0">
              <a:buNone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58778" lvl="2" indent="-179389" algn="l" defTabSz="914406" rtl="0" eaLnBrk="1" latinLnBrk="0" hangingPunct="1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35FA198-8A13-4A8F-B4EE-49845B8E8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27458" y="1857376"/>
            <a:ext cx="1983600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6ACE083-C86D-45ED-8C11-019550696D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80643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29247DB4-9C96-4895-AABD-422C522A97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80643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ADA6637A-F017-4396-B239-B80ED2F97B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60801" y="2175804"/>
            <a:ext cx="1980034" cy="115159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>
              <a:defRPr lang="en-US" sz="1400" dirty="0"/>
            </a:lvl2pPr>
            <a:lvl3pPr>
              <a:defRPr lang="en-US" sz="1400" dirty="0"/>
            </a:lvl3pPr>
            <a:lvl4pPr>
              <a:defRPr lang="en-US" sz="1400" dirty="0"/>
            </a:lvl4pPr>
            <a:lvl5pPr>
              <a:defRPr lang="en-IN" sz="1400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7B295F18-5030-4811-B6C7-29EE7444BC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60801" y="1857376"/>
            <a:ext cx="1980034" cy="263149"/>
          </a:xfrm>
        </p:spPr>
        <p:txBody>
          <a:bodyPr vert="horz" lIns="0" tIns="0" rIns="0" bIns="0" rtlCol="0">
            <a:sp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E372659-0669-485A-8EB1-D45CE8B0F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793311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Grey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769024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1C34F18-9238-4944-9751-DBBFCD9E3C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039D39E-8FE8-4C3F-AE18-8C3DCD3BA4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E004E42-DB15-49F0-9906-81D60B6E8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3235117" cy="837152"/>
          </a:xfrm>
        </p:spPr>
        <p:txBody>
          <a:bodyPr>
            <a:sp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0388695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925261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C7BEB73-A27D-4B04-A133-510ECB47E91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727F30D-9242-4A88-9322-2EDE74F75B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1BEDEA-6CDE-421B-87A1-0632A5F947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3" y="560588"/>
            <a:ext cx="3135726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5788285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Lef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517025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8FBABF1-7718-43F6-B247-8269F95D22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5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4059776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8429EF-F441-3040-BB9E-07E66E2B2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142" y="2546064"/>
            <a:ext cx="3032465" cy="176586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45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E6F1C9-C479-4E50-B466-BBB81EB0E1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086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8366249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Blu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57473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AAE3F72-88DF-4B4D-99C2-2DFE1EFB16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6098537" cy="685799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7F38A5-E451-48CD-9B09-4D22AB98C6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9233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2586D8-6C60-41B6-B276-7BF701FEA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5163309" cy="83704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548982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3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tags" Target="../tags/tag53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oleObject" Target="../embeddings/oleObject28.bin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tags" Target="../tags/tag54.xml"/><Relationship Id="rId8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tags" Target="../tags/tag104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oleObject" Target="../embeddings/oleObject55.bin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tags" Target="../tags/tag105.xml"/><Relationship Id="rId8" Type="http://schemas.openxmlformats.org/officeDocument/2006/relationships/slideLayout" Target="../slideLayouts/slideLayout6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26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102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5" Type="http://schemas.openxmlformats.org/officeDocument/2006/relationships/slideLayout" Target="../slideLayouts/slideLayout106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slideLayout" Target="../slideLayouts/slideLayout101.xml"/><Relationship Id="rId29" Type="http://schemas.openxmlformats.org/officeDocument/2006/relationships/tags" Target="../tags/tag155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105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23" Type="http://schemas.openxmlformats.org/officeDocument/2006/relationships/slideLayout" Target="../slideLayouts/slideLayout104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91.xml"/><Relationship Id="rId19" Type="http://schemas.openxmlformats.org/officeDocument/2006/relationships/slideLayout" Target="../slideLayouts/slideLayout100.xml"/><Relationship Id="rId31" Type="http://schemas.openxmlformats.org/officeDocument/2006/relationships/oleObject" Target="../embeddings/oleObject82.bin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103.xml"/><Relationship Id="rId27" Type="http://schemas.openxmlformats.org/officeDocument/2006/relationships/slideLayout" Target="../slideLayouts/slideLayout108.xml"/><Relationship Id="rId30" Type="http://schemas.openxmlformats.org/officeDocument/2006/relationships/tags" Target="../tags/tag156.xml"/><Relationship Id="rId8" Type="http://schemas.openxmlformats.org/officeDocument/2006/relationships/slideLayout" Target="../slideLayouts/slideLayout8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26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111.xml"/><Relationship Id="rId21" Type="http://schemas.openxmlformats.org/officeDocument/2006/relationships/slideLayout" Target="../slideLayouts/slideLayout129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5" Type="http://schemas.openxmlformats.org/officeDocument/2006/relationships/slideLayout" Target="../slideLayouts/slideLayout133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0" Type="http://schemas.openxmlformats.org/officeDocument/2006/relationships/slideLayout" Target="../slideLayouts/slideLayout128.xml"/><Relationship Id="rId29" Type="http://schemas.openxmlformats.org/officeDocument/2006/relationships/tags" Target="../tags/tag206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24" Type="http://schemas.openxmlformats.org/officeDocument/2006/relationships/slideLayout" Target="../slideLayouts/slideLayout132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23" Type="http://schemas.openxmlformats.org/officeDocument/2006/relationships/slideLayout" Target="../slideLayouts/slideLayout131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31" Type="http://schemas.openxmlformats.org/officeDocument/2006/relationships/oleObject" Target="../embeddings/oleObject109.bin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Relationship Id="rId22" Type="http://schemas.openxmlformats.org/officeDocument/2006/relationships/slideLayout" Target="../slideLayouts/slideLayout130.xml"/><Relationship Id="rId27" Type="http://schemas.openxmlformats.org/officeDocument/2006/relationships/slideLayout" Target="../slideLayouts/slideLayout135.xml"/><Relationship Id="rId30" Type="http://schemas.openxmlformats.org/officeDocument/2006/relationships/tags" Target="../tags/tag207.xml"/><Relationship Id="rId8" Type="http://schemas.openxmlformats.org/officeDocument/2006/relationships/slideLayout" Target="../slideLayouts/slideLayout116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26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38.xml"/><Relationship Id="rId21" Type="http://schemas.openxmlformats.org/officeDocument/2006/relationships/slideLayout" Target="../slideLayouts/slideLayout156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slideLayout" Target="../slideLayouts/slideLayout160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slideLayout" Target="../slideLayouts/slideLayout155.xml"/><Relationship Id="rId29" Type="http://schemas.openxmlformats.org/officeDocument/2006/relationships/tags" Target="../tags/tag25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24" Type="http://schemas.openxmlformats.org/officeDocument/2006/relationships/slideLayout" Target="../slideLayouts/slideLayout159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158.xml"/><Relationship Id="rId28" Type="http://schemas.openxmlformats.org/officeDocument/2006/relationships/theme" Target="../theme/theme6.xml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31" Type="http://schemas.openxmlformats.org/officeDocument/2006/relationships/oleObject" Target="../embeddings/oleObject136.bin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slideLayout" Target="../slideLayouts/slideLayout162.xml"/><Relationship Id="rId30" Type="http://schemas.openxmlformats.org/officeDocument/2006/relationships/tags" Target="../tags/tag258.xml"/><Relationship Id="rId8" Type="http://schemas.openxmlformats.org/officeDocument/2006/relationships/slideLayout" Target="../slideLayouts/slideLayout1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F01376A-4F6C-4427-9AC0-67FB4C2B0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559099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25" imgH="426" progId="TCLayout.ActiveDocument.1">
                  <p:embed/>
                </p:oleObj>
              </mc:Choice>
              <mc:Fallback>
                <p:oleObj name="think-cell Slide" r:id="rId31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F01376A-4F6C-4427-9AC0-67FB4C2B0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9302799-8A9B-47DC-8DBF-34AF7857573E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60F969-E23C-496D-A989-9312D6EAF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222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A9E90D-E2CC-4615-8D50-28FACCCB35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2" y="1859913"/>
            <a:ext cx="11089973" cy="132343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D71C6E-2232-442E-8448-AF1BD6203E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0662E3-7504-4CA7-A6CD-7C5C765B7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0154" y="6465615"/>
            <a:ext cx="15068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 algn="r">
              <a:defRPr kumimoji="0" lang="en-IN" sz="10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9B9B51C-163C-4DBE-9F6D-38D4CB5FF7EC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7B31061-A44E-4C9C-B07F-D8CDA855BC7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8093E00-38A0-4CF7-8C69-DC28CFFA7EF3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883A998E-3729-4FC5-A5CC-4DC84AB76CC9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F98D7A59-77C4-4FFE-B4BC-D6D2E508A277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7E72B593-8E78-4A4E-8039-9E8AB005B734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533BC9DA-DBAA-429C-9B2D-F5DE885FFA1A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FFC7ED54-A193-4F93-98BD-A9F95F53F901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C1CD3797-433D-4591-AF9B-5A6A6CF23E51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4C1BB38-5735-40B9-BFAD-56E5CBF32645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F661FAB9-9525-4A2E-ADDE-3D6DE582FDD9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9E2E67E8-04E8-4D20-B8D4-6E67405547E0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80013948-917C-44E7-8DBE-C5E0FD0A2100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87DCBD3E-5674-40CB-910B-ABFD71044CD1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76AD7FAC-FE8F-4E5C-AC0E-214C9EA7FF92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9EDD5925-EA7C-4C82-A33E-C3CE8EA3BC2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84" name="Copyright">
              <a:extLst>
                <a:ext uri="{FF2B5EF4-FFF2-40B4-BE49-F238E27FC236}">
                  <a16:creationId xmlns:a16="http://schemas.microsoft.com/office/drawing/2014/main" id="{99040E17-1592-44EC-BAF2-3AB7B9CEFCC4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3. All rights reserved.</a:t>
              </a: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A1291B6-2446-4C04-92FE-DFB37F15A485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444A0EAF-F5FD-4505-B25A-92C17DDE6630}"/>
              </a:ext>
            </a:extLst>
          </p:cNvPr>
          <p:cNvSpPr txBox="1">
            <a:spLocks/>
          </p:cNvSpPr>
          <p:nvPr userDrawn="1"/>
        </p:nvSpPr>
        <p:spPr>
          <a:xfrm>
            <a:off x="11490153" y="6465615"/>
            <a:ext cx="15068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kumimoji="0" lang="en-IN" sz="1000" b="0" i="0" u="none" strike="noStrike" kern="1200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z="1000" smtClean="0"/>
              <a:pPr>
                <a:lnSpc>
                  <a:spcPct val="90000"/>
                </a:lnSpc>
              </a:pPr>
              <a:t>‹#›</a:t>
            </a:fld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1488905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hf hdr="0" ftr="0" dt="0"/>
  <p:txStyles>
    <p:titleStyle>
      <a:lvl1pPr algn="l" defTabSz="914406" rtl="0" eaLnBrk="1" latinLnBrk="0" hangingPunct="1">
        <a:lnSpc>
          <a:spcPct val="90000"/>
        </a:lnSpc>
        <a:spcBef>
          <a:spcPct val="0"/>
        </a:spcBef>
        <a:buNone/>
        <a:defRPr lang="en-IN" sz="3200" b="0" kern="1200" dirty="0">
          <a:solidFill>
            <a:schemeClr val="tx2"/>
          </a:solidFill>
          <a:latin typeface="Franklin Gothic Demi" panose="020B070302010202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6" rtl="0" eaLnBrk="1" latinLnBrk="0" hangingPunct="1">
        <a:lnSpc>
          <a:spcPct val="95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76215" indent="-176215" algn="l" defTabSz="914406" rtl="0" eaLnBrk="1" latinLnBrk="0" hangingPunct="1">
        <a:lnSpc>
          <a:spcPct val="95000"/>
        </a:lnSpc>
        <a:spcBef>
          <a:spcPts val="500"/>
        </a:spcBef>
        <a:buClr>
          <a:schemeClr val="tx2"/>
        </a:buClr>
        <a:buSzPct val="90000"/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58778" indent="-179389" algn="l" defTabSz="914406" rtl="0" eaLnBrk="1" latinLnBrk="0" hangingPunct="1">
        <a:lnSpc>
          <a:spcPct val="95000"/>
        </a:lnSpc>
        <a:spcBef>
          <a:spcPts val="300"/>
        </a:spcBef>
        <a:buClr>
          <a:schemeClr val="tx2"/>
        </a:buClr>
        <a:buFont typeface="Calibri Light" panose="020F0302020204030204" pitchFamily="34" charset="0"/>
        <a:buChar char="−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36579" indent="-177801" algn="l" defTabSz="914406" rtl="0" eaLnBrk="1" latinLnBrk="0" hangingPunct="1">
        <a:lnSpc>
          <a:spcPct val="95000"/>
        </a:lnSpc>
        <a:spcBef>
          <a:spcPts val="1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15968" indent="-179389" algn="l" defTabSz="914406" rtl="0" eaLnBrk="1" latinLnBrk="0" hangingPunct="1">
        <a:lnSpc>
          <a:spcPct val="95000"/>
        </a:lnSpc>
        <a:spcBef>
          <a:spcPts val="100"/>
        </a:spcBef>
        <a:buClr>
          <a:schemeClr val="tx2"/>
        </a:buClr>
        <a:buFont typeface="Calibri Light" panose="020F0302020204030204" pitchFamily="34" charset="0"/>
        <a:buChar char="−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8111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4399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F01376A-4F6C-4427-9AC0-67FB4C2B0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567866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25" imgH="426" progId="TCLayout.ActiveDocument.1">
                  <p:embed/>
                </p:oleObj>
              </mc:Choice>
              <mc:Fallback>
                <p:oleObj name="think-cell Slide" r:id="rId31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F01376A-4F6C-4427-9AC0-67FB4C2B0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9302799-8A9B-47DC-8DBF-34AF7857573E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60F969-E23C-496D-A989-9312D6EAF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222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A9E90D-E2CC-4615-8D50-28FACCCB35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2" y="1859913"/>
            <a:ext cx="11089973" cy="132343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D71C6E-2232-442E-8448-AF1BD6203E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0662E3-7504-4CA7-A6CD-7C5C765B7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0154" y="6465615"/>
            <a:ext cx="15068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 algn="r">
              <a:defRPr kumimoji="0" lang="en-IN" sz="10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9B9B51C-163C-4DBE-9F6D-38D4CB5FF7EC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7B31061-A44E-4C9C-B07F-D8CDA855BC7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8093E00-38A0-4CF7-8C69-DC28CFFA7EF3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883A998E-3729-4FC5-A5CC-4DC84AB76CC9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F98D7A59-77C4-4FFE-B4BC-D6D2E508A277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7E72B593-8E78-4A4E-8039-9E8AB005B734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533BC9DA-DBAA-429C-9B2D-F5DE885FFA1A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FFC7ED54-A193-4F93-98BD-A9F95F53F901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C1CD3797-433D-4591-AF9B-5A6A6CF23E51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4C1BB38-5735-40B9-BFAD-56E5CBF32645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F661FAB9-9525-4A2E-ADDE-3D6DE582FDD9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9E2E67E8-04E8-4D20-B8D4-6E67405547E0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80013948-917C-44E7-8DBE-C5E0FD0A2100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87DCBD3E-5674-40CB-910B-ABFD71044CD1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76AD7FAC-FE8F-4E5C-AC0E-214C9EA7FF92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9EDD5925-EA7C-4C82-A33E-C3CE8EA3BC2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84" name="Copyright">
              <a:extLst>
                <a:ext uri="{FF2B5EF4-FFF2-40B4-BE49-F238E27FC236}">
                  <a16:creationId xmlns:a16="http://schemas.microsoft.com/office/drawing/2014/main" id="{99040E17-1592-44EC-BAF2-3AB7B9CEFCC4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3. All rights reserved.</a:t>
              </a: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A1291B6-2446-4C04-92FE-DFB37F15A485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444A0EAF-F5FD-4505-B25A-92C17DDE6630}"/>
              </a:ext>
            </a:extLst>
          </p:cNvPr>
          <p:cNvSpPr txBox="1">
            <a:spLocks/>
          </p:cNvSpPr>
          <p:nvPr userDrawn="1"/>
        </p:nvSpPr>
        <p:spPr>
          <a:xfrm>
            <a:off x="11490153" y="6465615"/>
            <a:ext cx="15068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kumimoji="0" lang="en-IN" sz="1000" b="0" i="0" u="none" strike="noStrike" kern="1200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z="1000" smtClean="0"/>
              <a:pPr>
                <a:lnSpc>
                  <a:spcPct val="90000"/>
                </a:lnSpc>
              </a:pPr>
              <a:t>‹#›</a:t>
            </a:fld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4029964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  <p:sldLayoutId id="2147483713" r:id="rId25"/>
    <p:sldLayoutId id="2147483714" r:id="rId26"/>
    <p:sldLayoutId id="2147483715" r:id="rId27"/>
  </p:sldLayoutIdLst>
  <p:hf hdr="0" ftr="0" dt="0"/>
  <p:txStyles>
    <p:titleStyle>
      <a:lvl1pPr algn="l" defTabSz="914406" rtl="0" eaLnBrk="1" latinLnBrk="0" hangingPunct="1">
        <a:lnSpc>
          <a:spcPct val="90000"/>
        </a:lnSpc>
        <a:spcBef>
          <a:spcPct val="0"/>
        </a:spcBef>
        <a:buNone/>
        <a:defRPr lang="en-IN" sz="3200" b="0" kern="1200" dirty="0">
          <a:solidFill>
            <a:schemeClr val="tx2"/>
          </a:solidFill>
          <a:latin typeface="Franklin Gothic Demi" panose="020B070302010202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6" rtl="0" eaLnBrk="1" latinLnBrk="0" hangingPunct="1">
        <a:lnSpc>
          <a:spcPct val="95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76215" indent="-176215" algn="l" defTabSz="914406" rtl="0" eaLnBrk="1" latinLnBrk="0" hangingPunct="1">
        <a:lnSpc>
          <a:spcPct val="95000"/>
        </a:lnSpc>
        <a:spcBef>
          <a:spcPts val="500"/>
        </a:spcBef>
        <a:buClr>
          <a:schemeClr val="tx2"/>
        </a:buClr>
        <a:buSzPct val="90000"/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58778" indent="-179389" algn="l" defTabSz="914406" rtl="0" eaLnBrk="1" latinLnBrk="0" hangingPunct="1">
        <a:lnSpc>
          <a:spcPct val="95000"/>
        </a:lnSpc>
        <a:spcBef>
          <a:spcPts val="300"/>
        </a:spcBef>
        <a:buClr>
          <a:schemeClr val="tx2"/>
        </a:buClr>
        <a:buFont typeface="Calibri Light" panose="020F0302020204030204" pitchFamily="34" charset="0"/>
        <a:buChar char="−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36579" indent="-177801" algn="l" defTabSz="914406" rtl="0" eaLnBrk="1" latinLnBrk="0" hangingPunct="1">
        <a:lnSpc>
          <a:spcPct val="95000"/>
        </a:lnSpc>
        <a:spcBef>
          <a:spcPts val="1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15968" indent="-179389" algn="l" defTabSz="914406" rtl="0" eaLnBrk="1" latinLnBrk="0" hangingPunct="1">
        <a:lnSpc>
          <a:spcPct val="95000"/>
        </a:lnSpc>
        <a:spcBef>
          <a:spcPts val="100"/>
        </a:spcBef>
        <a:buClr>
          <a:schemeClr val="tx2"/>
        </a:buClr>
        <a:buFont typeface="Calibri Light" panose="020F0302020204030204" pitchFamily="34" charset="0"/>
        <a:buChar char="−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8111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4399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F01376A-4F6C-4427-9AC0-67FB4C2B0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364989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25" imgH="426" progId="TCLayout.ActiveDocument.1">
                  <p:embed/>
                </p:oleObj>
              </mc:Choice>
              <mc:Fallback>
                <p:oleObj name="think-cell Slide" r:id="rId31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F01376A-4F6C-4427-9AC0-67FB4C2B0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9302799-8A9B-47DC-8DBF-34AF7857573E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60F969-E23C-496D-A989-9312D6EAF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222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A9E90D-E2CC-4615-8D50-28FACCCB35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2" y="1859913"/>
            <a:ext cx="11089973" cy="132343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D71C6E-2232-442E-8448-AF1BD6203E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0662E3-7504-4CA7-A6CD-7C5C765B7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0154" y="6465615"/>
            <a:ext cx="15068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 algn="r">
              <a:defRPr kumimoji="0" lang="en-IN" sz="10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9B9B51C-163C-4DBE-9F6D-38D4CB5FF7EC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7B31061-A44E-4C9C-B07F-D8CDA855BC7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8093E00-38A0-4CF7-8C69-DC28CFFA7EF3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883A998E-3729-4FC5-A5CC-4DC84AB76CC9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F98D7A59-77C4-4FFE-B4BC-D6D2E508A277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7E72B593-8E78-4A4E-8039-9E8AB005B734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533BC9DA-DBAA-429C-9B2D-F5DE885FFA1A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FFC7ED54-A193-4F93-98BD-A9F95F53F901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C1CD3797-433D-4591-AF9B-5A6A6CF23E51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4C1BB38-5735-40B9-BFAD-56E5CBF32645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F661FAB9-9525-4A2E-ADDE-3D6DE582FDD9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9E2E67E8-04E8-4D20-B8D4-6E67405547E0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80013948-917C-44E7-8DBE-C5E0FD0A2100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87DCBD3E-5674-40CB-910B-ABFD71044CD1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76AD7FAC-FE8F-4E5C-AC0E-214C9EA7FF92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9EDD5925-EA7C-4C82-A33E-C3CE8EA3BC2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84" name="Copyright">
              <a:extLst>
                <a:ext uri="{FF2B5EF4-FFF2-40B4-BE49-F238E27FC236}">
                  <a16:creationId xmlns:a16="http://schemas.microsoft.com/office/drawing/2014/main" id="{99040E17-1592-44EC-BAF2-3AB7B9CEFCC4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3. All rights reserved.</a:t>
              </a: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A1291B6-2446-4C04-92FE-DFB37F15A485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444A0EAF-F5FD-4505-B25A-92C17DDE6630}"/>
              </a:ext>
            </a:extLst>
          </p:cNvPr>
          <p:cNvSpPr txBox="1">
            <a:spLocks/>
          </p:cNvSpPr>
          <p:nvPr userDrawn="1"/>
        </p:nvSpPr>
        <p:spPr>
          <a:xfrm>
            <a:off x="11490153" y="6465615"/>
            <a:ext cx="15068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kumimoji="0" lang="en-IN" sz="1000" b="0" i="0" u="none" strike="noStrike" kern="1200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z="1000" smtClean="0"/>
              <a:pPr>
                <a:lnSpc>
                  <a:spcPct val="90000"/>
                </a:lnSpc>
              </a:pPr>
              <a:t>‹#›</a:t>
            </a:fld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447425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7" r:id="rId21"/>
    <p:sldLayoutId id="2147483738" r:id="rId22"/>
    <p:sldLayoutId id="2147483739" r:id="rId23"/>
    <p:sldLayoutId id="2147483740" r:id="rId24"/>
    <p:sldLayoutId id="2147483741" r:id="rId25"/>
    <p:sldLayoutId id="2147483742" r:id="rId26"/>
    <p:sldLayoutId id="2147483743" r:id="rId27"/>
  </p:sldLayoutIdLst>
  <p:hf hdr="0" ftr="0" dt="0"/>
  <p:txStyles>
    <p:titleStyle>
      <a:lvl1pPr algn="l" defTabSz="914406" rtl="0" eaLnBrk="1" latinLnBrk="0" hangingPunct="1">
        <a:lnSpc>
          <a:spcPct val="90000"/>
        </a:lnSpc>
        <a:spcBef>
          <a:spcPct val="0"/>
        </a:spcBef>
        <a:buNone/>
        <a:defRPr lang="en-IN" sz="3200" b="0" kern="1200" dirty="0">
          <a:solidFill>
            <a:schemeClr val="tx2"/>
          </a:solidFill>
          <a:latin typeface="Franklin Gothic Demi" panose="020B070302010202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6" rtl="0" eaLnBrk="1" latinLnBrk="0" hangingPunct="1">
        <a:lnSpc>
          <a:spcPct val="95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76215" indent="-176215" algn="l" defTabSz="914406" rtl="0" eaLnBrk="1" latinLnBrk="0" hangingPunct="1">
        <a:lnSpc>
          <a:spcPct val="95000"/>
        </a:lnSpc>
        <a:spcBef>
          <a:spcPts val="500"/>
        </a:spcBef>
        <a:buClr>
          <a:schemeClr val="tx2"/>
        </a:buClr>
        <a:buSzPct val="90000"/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58778" indent="-179389" algn="l" defTabSz="914406" rtl="0" eaLnBrk="1" latinLnBrk="0" hangingPunct="1">
        <a:lnSpc>
          <a:spcPct val="95000"/>
        </a:lnSpc>
        <a:spcBef>
          <a:spcPts val="300"/>
        </a:spcBef>
        <a:buClr>
          <a:schemeClr val="tx2"/>
        </a:buClr>
        <a:buFont typeface="Calibri Light" panose="020F0302020204030204" pitchFamily="34" charset="0"/>
        <a:buChar char="−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36579" indent="-177801" algn="l" defTabSz="914406" rtl="0" eaLnBrk="1" latinLnBrk="0" hangingPunct="1">
        <a:lnSpc>
          <a:spcPct val="95000"/>
        </a:lnSpc>
        <a:spcBef>
          <a:spcPts val="1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15968" indent="-179389" algn="l" defTabSz="914406" rtl="0" eaLnBrk="1" latinLnBrk="0" hangingPunct="1">
        <a:lnSpc>
          <a:spcPct val="95000"/>
        </a:lnSpc>
        <a:spcBef>
          <a:spcPts val="100"/>
        </a:spcBef>
        <a:buClr>
          <a:schemeClr val="tx2"/>
        </a:buClr>
        <a:buFont typeface="Calibri Light" panose="020F0302020204030204" pitchFamily="34" charset="0"/>
        <a:buChar char="−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8111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4399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F01376A-4F6C-4427-9AC0-67FB4C2B0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556360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25" imgH="426" progId="TCLayout.ActiveDocument.1">
                  <p:embed/>
                </p:oleObj>
              </mc:Choice>
              <mc:Fallback>
                <p:oleObj name="think-cell Slide" r:id="rId31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F01376A-4F6C-4427-9AC0-67FB4C2B0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9302799-8A9B-47DC-8DBF-34AF7857573E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60F969-E23C-496D-A989-9312D6EAF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222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A9E90D-E2CC-4615-8D50-28FACCCB35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2" y="1859913"/>
            <a:ext cx="11089973" cy="132343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D71C6E-2232-442E-8448-AF1BD6203E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0662E3-7504-4CA7-A6CD-7C5C765B7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0154" y="6465615"/>
            <a:ext cx="15068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 algn="r">
              <a:defRPr kumimoji="0" lang="en-IN" sz="10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9B9B51C-163C-4DBE-9F6D-38D4CB5FF7EC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7B31061-A44E-4C9C-B07F-D8CDA855BC7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8093E00-38A0-4CF7-8C69-DC28CFFA7EF3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883A998E-3729-4FC5-A5CC-4DC84AB76CC9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F98D7A59-77C4-4FFE-B4BC-D6D2E508A277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7E72B593-8E78-4A4E-8039-9E8AB005B734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533BC9DA-DBAA-429C-9B2D-F5DE885FFA1A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FFC7ED54-A193-4F93-98BD-A9F95F53F901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C1CD3797-433D-4591-AF9B-5A6A6CF23E51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4C1BB38-5735-40B9-BFAD-56E5CBF32645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F661FAB9-9525-4A2E-ADDE-3D6DE582FDD9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9E2E67E8-04E8-4D20-B8D4-6E67405547E0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80013948-917C-44E7-8DBE-C5E0FD0A2100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87DCBD3E-5674-40CB-910B-ABFD71044CD1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76AD7FAC-FE8F-4E5C-AC0E-214C9EA7FF92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9EDD5925-EA7C-4C82-A33E-C3CE8EA3BC2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84" name="Copyright">
              <a:extLst>
                <a:ext uri="{FF2B5EF4-FFF2-40B4-BE49-F238E27FC236}">
                  <a16:creationId xmlns:a16="http://schemas.microsoft.com/office/drawing/2014/main" id="{99040E17-1592-44EC-BAF2-3AB7B9CEFCC4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3. All rights reserved.</a:t>
              </a: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A1291B6-2446-4C04-92FE-DFB37F15A485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444A0EAF-F5FD-4505-B25A-92C17DDE6630}"/>
              </a:ext>
            </a:extLst>
          </p:cNvPr>
          <p:cNvSpPr txBox="1">
            <a:spLocks/>
          </p:cNvSpPr>
          <p:nvPr userDrawn="1"/>
        </p:nvSpPr>
        <p:spPr>
          <a:xfrm>
            <a:off x="11490153" y="6465615"/>
            <a:ext cx="15068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kumimoji="0" lang="en-IN" sz="1000" b="0" i="0" u="none" strike="noStrike" kern="1200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z="1000" smtClean="0"/>
              <a:pPr>
                <a:lnSpc>
                  <a:spcPct val="90000"/>
                </a:lnSpc>
              </a:pPr>
              <a:t>‹#›</a:t>
            </a:fld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466608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2" r:id="rId18"/>
    <p:sldLayoutId id="2147483763" r:id="rId19"/>
    <p:sldLayoutId id="2147483764" r:id="rId20"/>
    <p:sldLayoutId id="2147483765" r:id="rId21"/>
    <p:sldLayoutId id="2147483766" r:id="rId22"/>
    <p:sldLayoutId id="2147483767" r:id="rId23"/>
    <p:sldLayoutId id="2147483768" r:id="rId24"/>
    <p:sldLayoutId id="2147483769" r:id="rId25"/>
    <p:sldLayoutId id="2147483770" r:id="rId26"/>
    <p:sldLayoutId id="2147483771" r:id="rId27"/>
  </p:sldLayoutIdLst>
  <p:hf hdr="0" ftr="0" dt="0"/>
  <p:txStyles>
    <p:titleStyle>
      <a:lvl1pPr algn="l" defTabSz="914406" rtl="0" eaLnBrk="1" latinLnBrk="0" hangingPunct="1">
        <a:lnSpc>
          <a:spcPct val="90000"/>
        </a:lnSpc>
        <a:spcBef>
          <a:spcPct val="0"/>
        </a:spcBef>
        <a:buNone/>
        <a:defRPr lang="en-IN" sz="3200" b="0" kern="1200" dirty="0">
          <a:solidFill>
            <a:schemeClr val="tx2"/>
          </a:solidFill>
          <a:latin typeface="Franklin Gothic Demi" panose="020B070302010202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6" rtl="0" eaLnBrk="1" latinLnBrk="0" hangingPunct="1">
        <a:lnSpc>
          <a:spcPct val="95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76215" indent="-176215" algn="l" defTabSz="914406" rtl="0" eaLnBrk="1" latinLnBrk="0" hangingPunct="1">
        <a:lnSpc>
          <a:spcPct val="95000"/>
        </a:lnSpc>
        <a:spcBef>
          <a:spcPts val="500"/>
        </a:spcBef>
        <a:buClr>
          <a:schemeClr val="tx2"/>
        </a:buClr>
        <a:buSzPct val="90000"/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58778" indent="-179389" algn="l" defTabSz="914406" rtl="0" eaLnBrk="1" latinLnBrk="0" hangingPunct="1">
        <a:lnSpc>
          <a:spcPct val="95000"/>
        </a:lnSpc>
        <a:spcBef>
          <a:spcPts val="300"/>
        </a:spcBef>
        <a:buClr>
          <a:schemeClr val="tx2"/>
        </a:buClr>
        <a:buFont typeface="Calibri Light" panose="020F0302020204030204" pitchFamily="34" charset="0"/>
        <a:buChar char="−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36579" indent="-177801" algn="l" defTabSz="914406" rtl="0" eaLnBrk="1" latinLnBrk="0" hangingPunct="1">
        <a:lnSpc>
          <a:spcPct val="95000"/>
        </a:lnSpc>
        <a:spcBef>
          <a:spcPts val="1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15968" indent="-179389" algn="l" defTabSz="914406" rtl="0" eaLnBrk="1" latinLnBrk="0" hangingPunct="1">
        <a:lnSpc>
          <a:spcPct val="95000"/>
        </a:lnSpc>
        <a:spcBef>
          <a:spcPts val="100"/>
        </a:spcBef>
        <a:buClr>
          <a:schemeClr val="tx2"/>
        </a:buClr>
        <a:buFont typeface="Calibri Light" panose="020F0302020204030204" pitchFamily="34" charset="0"/>
        <a:buChar char="−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8111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4399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F01376A-4F6C-4427-9AC0-67FB4C2B0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550125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25" imgH="426" progId="TCLayout.ActiveDocument.1">
                  <p:embed/>
                </p:oleObj>
              </mc:Choice>
              <mc:Fallback>
                <p:oleObj name="think-cell Slide" r:id="rId31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F01376A-4F6C-4427-9AC0-67FB4C2B0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9302799-8A9B-47DC-8DBF-34AF7857573E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60F969-E23C-496D-A989-9312D6EAF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222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A9E90D-E2CC-4615-8D50-28FACCCB35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2" y="1859913"/>
            <a:ext cx="11089973" cy="132343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D71C6E-2232-442E-8448-AF1BD6203E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0662E3-7504-4CA7-A6CD-7C5C765B7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0154" y="6465615"/>
            <a:ext cx="15068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 algn="r">
              <a:defRPr kumimoji="0" lang="en-IN" sz="10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9B9B51C-163C-4DBE-9F6D-38D4CB5FF7EC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7B31061-A44E-4C9C-B07F-D8CDA855BC7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8093E00-38A0-4CF7-8C69-DC28CFFA7EF3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883A998E-3729-4FC5-A5CC-4DC84AB76CC9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F98D7A59-77C4-4FFE-B4BC-D6D2E508A277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7E72B593-8E78-4A4E-8039-9E8AB005B734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533BC9DA-DBAA-429C-9B2D-F5DE885FFA1A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FFC7ED54-A193-4F93-98BD-A9F95F53F901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C1CD3797-433D-4591-AF9B-5A6A6CF23E51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4C1BB38-5735-40B9-BFAD-56E5CBF32645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F661FAB9-9525-4A2E-ADDE-3D6DE582FDD9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9E2E67E8-04E8-4D20-B8D4-6E67405547E0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80013948-917C-44E7-8DBE-C5E0FD0A2100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87DCBD3E-5674-40CB-910B-ABFD71044CD1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76AD7FAC-FE8F-4E5C-AC0E-214C9EA7FF92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9EDD5925-EA7C-4C82-A33E-C3CE8EA3BC2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84" name="Copyright">
              <a:extLst>
                <a:ext uri="{FF2B5EF4-FFF2-40B4-BE49-F238E27FC236}">
                  <a16:creationId xmlns:a16="http://schemas.microsoft.com/office/drawing/2014/main" id="{99040E17-1592-44EC-BAF2-3AB7B9CEFCC4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3. All rights reserved.</a:t>
              </a: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A1291B6-2446-4C04-92FE-DFB37F15A485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444A0EAF-F5FD-4505-B25A-92C17DDE6630}"/>
              </a:ext>
            </a:extLst>
          </p:cNvPr>
          <p:cNvSpPr txBox="1">
            <a:spLocks/>
          </p:cNvSpPr>
          <p:nvPr userDrawn="1"/>
        </p:nvSpPr>
        <p:spPr>
          <a:xfrm>
            <a:off x="11490153" y="6465615"/>
            <a:ext cx="15068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kumimoji="0" lang="en-IN" sz="1000" b="0" i="0" u="none" strike="noStrike" kern="1200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z="1000" smtClean="0"/>
              <a:pPr>
                <a:lnSpc>
                  <a:spcPct val="90000"/>
                </a:lnSpc>
              </a:pPr>
              <a:t>‹#›</a:t>
            </a:fld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649797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  <p:sldLayoutId id="2147483796" r:id="rId24"/>
    <p:sldLayoutId id="2147483797" r:id="rId25"/>
    <p:sldLayoutId id="2147483798" r:id="rId26"/>
    <p:sldLayoutId id="2147483799" r:id="rId27"/>
  </p:sldLayoutIdLst>
  <p:hf hdr="0" ftr="0" dt="0"/>
  <p:txStyles>
    <p:titleStyle>
      <a:lvl1pPr algn="l" defTabSz="914406" rtl="0" eaLnBrk="1" latinLnBrk="0" hangingPunct="1">
        <a:lnSpc>
          <a:spcPct val="90000"/>
        </a:lnSpc>
        <a:spcBef>
          <a:spcPct val="0"/>
        </a:spcBef>
        <a:buNone/>
        <a:defRPr lang="en-IN" sz="3200" b="0" kern="1200" dirty="0">
          <a:solidFill>
            <a:schemeClr val="tx2"/>
          </a:solidFill>
          <a:latin typeface="Franklin Gothic Demi" panose="020B070302010202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6" rtl="0" eaLnBrk="1" latinLnBrk="0" hangingPunct="1">
        <a:lnSpc>
          <a:spcPct val="95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76215" indent="-176215" algn="l" defTabSz="914406" rtl="0" eaLnBrk="1" latinLnBrk="0" hangingPunct="1">
        <a:lnSpc>
          <a:spcPct val="95000"/>
        </a:lnSpc>
        <a:spcBef>
          <a:spcPts val="500"/>
        </a:spcBef>
        <a:buClr>
          <a:schemeClr val="tx2"/>
        </a:buClr>
        <a:buSzPct val="90000"/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58778" indent="-179389" algn="l" defTabSz="914406" rtl="0" eaLnBrk="1" latinLnBrk="0" hangingPunct="1">
        <a:lnSpc>
          <a:spcPct val="95000"/>
        </a:lnSpc>
        <a:spcBef>
          <a:spcPts val="300"/>
        </a:spcBef>
        <a:buClr>
          <a:schemeClr val="tx2"/>
        </a:buClr>
        <a:buFont typeface="Calibri Light" panose="020F0302020204030204" pitchFamily="34" charset="0"/>
        <a:buChar char="−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36579" indent="-177801" algn="l" defTabSz="914406" rtl="0" eaLnBrk="1" latinLnBrk="0" hangingPunct="1">
        <a:lnSpc>
          <a:spcPct val="95000"/>
        </a:lnSpc>
        <a:spcBef>
          <a:spcPts val="1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15968" indent="-179389" algn="l" defTabSz="914406" rtl="0" eaLnBrk="1" latinLnBrk="0" hangingPunct="1">
        <a:lnSpc>
          <a:spcPct val="95000"/>
        </a:lnSpc>
        <a:spcBef>
          <a:spcPts val="100"/>
        </a:spcBef>
        <a:buClr>
          <a:schemeClr val="tx2"/>
        </a:buClr>
        <a:buFont typeface="Calibri Light" panose="020F0302020204030204" pitchFamily="34" charset="0"/>
        <a:buChar char="−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8111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4399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F01376A-4F6C-4427-9AC0-67FB4C2B0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55948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25" imgH="426" progId="TCLayout.ActiveDocument.1">
                  <p:embed/>
                </p:oleObj>
              </mc:Choice>
              <mc:Fallback>
                <p:oleObj name="think-cell Slide" r:id="rId31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F01376A-4F6C-4427-9AC0-67FB4C2B0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9302799-8A9B-47DC-8DBF-34AF7857573E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60F969-E23C-496D-A989-9312D6EAF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588"/>
            <a:ext cx="11089972" cy="4222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A9E90D-E2CC-4615-8D50-28FACCCB35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2" y="1859913"/>
            <a:ext cx="11089973" cy="132343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D71C6E-2232-442E-8448-AF1BD6203E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4" y="6465615"/>
            <a:ext cx="48891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0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0662E3-7504-4CA7-A6CD-7C5C765B7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0154" y="6465615"/>
            <a:ext cx="15068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 algn="r">
              <a:defRPr kumimoji="0" lang="en-IN" sz="10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9B9B51C-163C-4DBE-9F6D-38D4CB5FF7EC}"/>
              </a:ext>
            </a:extLst>
          </p:cNvPr>
          <p:cNvGrpSpPr/>
          <p:nvPr userDrawn="1"/>
        </p:nvGrpSpPr>
        <p:grpSpPr>
          <a:xfrm>
            <a:off x="11979364" y="4535495"/>
            <a:ext cx="110800" cy="2041949"/>
            <a:chOff x="11979441" y="4535494"/>
            <a:chExt cx="110801" cy="204194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7B31061-A44E-4C9C-B07F-D8CDA855BC7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8093E00-38A0-4CF7-8C69-DC28CFFA7EF3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883A998E-3729-4FC5-A5CC-4DC84AB76CC9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F98D7A59-77C4-4FFE-B4BC-D6D2E508A277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7E72B593-8E78-4A4E-8039-9E8AB005B734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533BC9DA-DBAA-429C-9B2D-F5DE885FFA1A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FFC7ED54-A193-4F93-98BD-A9F95F53F901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C1CD3797-433D-4591-AF9B-5A6A6CF23E51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4C1BB38-5735-40B9-BFAD-56E5CBF32645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F661FAB9-9525-4A2E-ADDE-3D6DE582FDD9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9E2E67E8-04E8-4D20-B8D4-6E67405547E0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80013948-917C-44E7-8DBE-C5E0FD0A2100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87DCBD3E-5674-40CB-910B-ABFD71044CD1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76AD7FAC-FE8F-4E5C-AC0E-214C9EA7FF92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40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9EDD5925-EA7C-4C82-A33E-C3CE8EA3BC2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84" name="Copyright">
              <a:extLst>
                <a:ext uri="{FF2B5EF4-FFF2-40B4-BE49-F238E27FC236}">
                  <a16:creationId xmlns:a16="http://schemas.microsoft.com/office/drawing/2014/main" id="{99040E17-1592-44EC-BAF2-3AB7B9CEFCC4}"/>
                </a:ext>
              </a:extLst>
            </p:cNvPr>
            <p:cNvSpPr txBox="1"/>
            <p:nvPr userDrawn="1"/>
          </p:nvSpPr>
          <p:spPr>
            <a:xfrm rot="16200000">
              <a:off x="11250973" y="5263962"/>
              <a:ext cx="1567737" cy="11080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3. All rights reserved.</a:t>
              </a: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A1291B6-2446-4C04-92FE-DFB37F15A485}"/>
              </a:ext>
            </a:extLst>
          </p:cNvPr>
          <p:cNvCxnSpPr>
            <a:cxnSpLocks/>
          </p:cNvCxnSpPr>
          <p:nvPr userDrawn="1"/>
        </p:nvCxnSpPr>
        <p:spPr>
          <a:xfrm>
            <a:off x="539400" y="484910"/>
            <a:ext cx="540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444A0EAF-F5FD-4505-B25A-92C17DDE6630}"/>
              </a:ext>
            </a:extLst>
          </p:cNvPr>
          <p:cNvSpPr txBox="1">
            <a:spLocks/>
          </p:cNvSpPr>
          <p:nvPr userDrawn="1"/>
        </p:nvSpPr>
        <p:spPr>
          <a:xfrm>
            <a:off x="11490153" y="6465615"/>
            <a:ext cx="15068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kumimoji="0" lang="en-IN" sz="1000" b="0" i="0" u="none" strike="noStrike" kern="1200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z="1000" smtClean="0"/>
              <a:pPr>
                <a:lnSpc>
                  <a:spcPct val="90000"/>
                </a:lnSpc>
              </a:pPr>
              <a:t>‹#›</a:t>
            </a:fld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1423216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  <p:sldLayoutId id="2147483818" r:id="rId18"/>
    <p:sldLayoutId id="2147483819" r:id="rId19"/>
    <p:sldLayoutId id="2147483820" r:id="rId20"/>
    <p:sldLayoutId id="2147483821" r:id="rId21"/>
    <p:sldLayoutId id="2147483822" r:id="rId22"/>
    <p:sldLayoutId id="2147483823" r:id="rId23"/>
    <p:sldLayoutId id="2147483824" r:id="rId24"/>
    <p:sldLayoutId id="2147483825" r:id="rId25"/>
    <p:sldLayoutId id="2147483826" r:id="rId26"/>
    <p:sldLayoutId id="2147483827" r:id="rId27"/>
  </p:sldLayoutIdLst>
  <p:hf hdr="0" ftr="0" dt="0"/>
  <p:txStyles>
    <p:titleStyle>
      <a:lvl1pPr algn="l" defTabSz="914406" rtl="0" eaLnBrk="1" latinLnBrk="0" hangingPunct="1">
        <a:lnSpc>
          <a:spcPct val="90000"/>
        </a:lnSpc>
        <a:spcBef>
          <a:spcPct val="0"/>
        </a:spcBef>
        <a:buNone/>
        <a:defRPr lang="en-IN" sz="3200" b="0" kern="1200" dirty="0">
          <a:solidFill>
            <a:schemeClr val="tx2"/>
          </a:solidFill>
          <a:latin typeface="Franklin Gothic Demi" panose="020B070302010202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6" rtl="0" eaLnBrk="1" latinLnBrk="0" hangingPunct="1">
        <a:lnSpc>
          <a:spcPct val="95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76215" indent="-176215" algn="l" defTabSz="914406" rtl="0" eaLnBrk="1" latinLnBrk="0" hangingPunct="1">
        <a:lnSpc>
          <a:spcPct val="95000"/>
        </a:lnSpc>
        <a:spcBef>
          <a:spcPts val="500"/>
        </a:spcBef>
        <a:buClr>
          <a:schemeClr val="tx2"/>
        </a:buClr>
        <a:buSzPct val="90000"/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58778" indent="-179389" algn="l" defTabSz="914406" rtl="0" eaLnBrk="1" latinLnBrk="0" hangingPunct="1">
        <a:lnSpc>
          <a:spcPct val="95000"/>
        </a:lnSpc>
        <a:spcBef>
          <a:spcPts val="300"/>
        </a:spcBef>
        <a:buClr>
          <a:schemeClr val="tx2"/>
        </a:buClr>
        <a:buFont typeface="Calibri Light" panose="020F0302020204030204" pitchFamily="34" charset="0"/>
        <a:buChar char="−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36579" indent="-177801" algn="l" defTabSz="914406" rtl="0" eaLnBrk="1" latinLnBrk="0" hangingPunct="1">
        <a:lnSpc>
          <a:spcPct val="95000"/>
        </a:lnSpc>
        <a:spcBef>
          <a:spcPts val="1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15968" indent="-179389" algn="l" defTabSz="914406" rtl="0" eaLnBrk="1" latinLnBrk="0" hangingPunct="1">
        <a:lnSpc>
          <a:spcPct val="95000"/>
        </a:lnSpc>
        <a:spcBef>
          <a:spcPts val="100"/>
        </a:spcBef>
        <a:buClr>
          <a:schemeClr val="tx2"/>
        </a:buClr>
        <a:buFont typeface="Calibri Light" panose="020F0302020204030204" pitchFamily="34" charset="0"/>
        <a:buChar char="−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8111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4399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svg"/><Relationship Id="rId18" Type="http://schemas.openxmlformats.org/officeDocument/2006/relationships/image" Target="../media/image30.png"/><Relationship Id="rId3" Type="http://schemas.openxmlformats.org/officeDocument/2006/relationships/notesSlide" Target="../notesSlides/notesSlide1.xml"/><Relationship Id="rId21" Type="http://schemas.microsoft.com/office/2007/relationships/hdphoto" Target="../media/hdphoto2.wdp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openxmlformats.org/officeDocument/2006/relationships/image" Target="../media/image29.svg"/><Relationship Id="rId2" Type="http://schemas.openxmlformats.org/officeDocument/2006/relationships/slideLayout" Target="../slideLayouts/slideLayout116.xml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1" Type="http://schemas.openxmlformats.org/officeDocument/2006/relationships/tags" Target="../tags/tag308.xml"/><Relationship Id="rId6" Type="http://schemas.openxmlformats.org/officeDocument/2006/relationships/image" Target="../media/image18.png"/><Relationship Id="rId11" Type="http://schemas.openxmlformats.org/officeDocument/2006/relationships/image" Target="../media/image23.svg"/><Relationship Id="rId5" Type="http://schemas.openxmlformats.org/officeDocument/2006/relationships/image" Target="../media/image8.emf"/><Relationship Id="rId15" Type="http://schemas.openxmlformats.org/officeDocument/2006/relationships/image" Target="../media/image27.svg"/><Relationship Id="rId10" Type="http://schemas.openxmlformats.org/officeDocument/2006/relationships/image" Target="../media/image22.png"/><Relationship Id="rId19" Type="http://schemas.openxmlformats.org/officeDocument/2006/relationships/image" Target="../media/image31.svg"/><Relationship Id="rId4" Type="http://schemas.openxmlformats.org/officeDocument/2006/relationships/oleObject" Target="../embeddings/oleObject163.bin"/><Relationship Id="rId9" Type="http://schemas.openxmlformats.org/officeDocument/2006/relationships/image" Target="../media/image21.svg"/><Relationship Id="rId1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oleObject" Target="../embeddings/oleObject164.bin"/><Relationship Id="rId7" Type="http://schemas.openxmlformats.org/officeDocument/2006/relationships/image" Target="../media/image35.png"/><Relationship Id="rId12" Type="http://schemas.openxmlformats.org/officeDocument/2006/relationships/image" Target="../media/image23.svg"/><Relationship Id="rId2" Type="http://schemas.openxmlformats.org/officeDocument/2006/relationships/slideLayout" Target="../slideLayouts/slideLayout143.xml"/><Relationship Id="rId1" Type="http://schemas.openxmlformats.org/officeDocument/2006/relationships/tags" Target="../tags/tag309.xml"/><Relationship Id="rId6" Type="http://schemas.openxmlformats.org/officeDocument/2006/relationships/image" Target="../media/image34.svg"/><Relationship Id="rId11" Type="http://schemas.openxmlformats.org/officeDocument/2006/relationships/image" Target="../media/image22.pn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image" Target="../media/image8.emf"/><Relationship Id="rId9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165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89.xml"/><Relationship Id="rId1" Type="http://schemas.openxmlformats.org/officeDocument/2006/relationships/tags" Target="../tags/tag310.xml"/><Relationship Id="rId6" Type="http://schemas.microsoft.com/office/2007/relationships/hdphoto" Target="../media/hdphoto2.wdp"/><Relationship Id="rId5" Type="http://schemas.openxmlformats.org/officeDocument/2006/relationships/image" Target="../media/image32.png"/><Relationship Id="rId10" Type="http://schemas.openxmlformats.org/officeDocument/2006/relationships/image" Target="../media/image40.svg"/><Relationship Id="rId4" Type="http://schemas.openxmlformats.org/officeDocument/2006/relationships/image" Target="../media/image8.emf"/><Relationship Id="rId9" Type="http://schemas.openxmlformats.org/officeDocument/2006/relationships/image" Target="../media/image3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25.svg"/><Relationship Id="rId3" Type="http://schemas.openxmlformats.org/officeDocument/2006/relationships/oleObject" Target="../embeddings/oleObject166.bin"/><Relationship Id="rId7" Type="http://schemas.microsoft.com/office/2007/relationships/hdphoto" Target="../media/hdphoto3.wdp"/><Relationship Id="rId12" Type="http://schemas.openxmlformats.org/officeDocument/2006/relationships/image" Target="../media/image24.png"/><Relationship Id="rId2" Type="http://schemas.openxmlformats.org/officeDocument/2006/relationships/slideLayout" Target="../slideLayouts/slideLayout89.xml"/><Relationship Id="rId1" Type="http://schemas.openxmlformats.org/officeDocument/2006/relationships/tags" Target="../tags/tag311.xml"/><Relationship Id="rId6" Type="http://schemas.openxmlformats.org/officeDocument/2006/relationships/image" Target="../media/image42.png"/><Relationship Id="rId11" Type="http://schemas.microsoft.com/office/2007/relationships/hdphoto" Target="../media/hdphoto4.wdp"/><Relationship Id="rId5" Type="http://schemas.openxmlformats.org/officeDocument/2006/relationships/image" Target="../media/image41.emf"/><Relationship Id="rId10" Type="http://schemas.openxmlformats.org/officeDocument/2006/relationships/image" Target="../media/image45.png"/><Relationship Id="rId4" Type="http://schemas.openxmlformats.org/officeDocument/2006/relationships/image" Target="../media/image8.emf"/><Relationship Id="rId9" Type="http://schemas.openxmlformats.org/officeDocument/2006/relationships/image" Target="../media/image44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167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62.xml"/><Relationship Id="rId1" Type="http://schemas.openxmlformats.org/officeDocument/2006/relationships/tags" Target="../tags/tag312.xml"/><Relationship Id="rId6" Type="http://schemas.microsoft.com/office/2007/relationships/hdphoto" Target="../media/hdphoto2.wdp"/><Relationship Id="rId5" Type="http://schemas.openxmlformats.org/officeDocument/2006/relationships/image" Target="../media/image32.png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8.bin"/><Relationship Id="rId7" Type="http://schemas.openxmlformats.org/officeDocument/2006/relationships/image" Target="../media/image48.svg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313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9B19D4-721A-1E3B-3109-B9E7D5208C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1509976"/>
              </p:ext>
            </p:extLst>
          </p:nvPr>
        </p:nvGraphicFramePr>
        <p:xfrm>
          <a:off x="1441" y="153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9B19D4-721A-1E3B-3109-B9E7D5208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1" y="153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B70F8A52-34A2-E5E1-1B79-682E413E1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664"/>
            <a:ext cx="11089972" cy="886350"/>
          </a:xfrm>
        </p:spPr>
        <p:txBody>
          <a:bodyPr vert="horz"/>
          <a:lstStyle/>
          <a:p>
            <a:r>
              <a:rPr lang="en-US" dirty="0"/>
              <a:t>A Comprehensive Dashboard of Key HR Metrics </a:t>
            </a:r>
            <a:br>
              <a:rPr lang="en-US" dirty="0"/>
            </a:br>
            <a:r>
              <a:rPr lang="en-US" dirty="0"/>
              <a:t>and Performance Indicators</a:t>
            </a:r>
          </a:p>
        </p:txBody>
      </p:sp>
      <p:sp>
        <p:nvSpPr>
          <p:cNvPr id="117" name="Arrow: Pentagon 116">
            <a:extLst>
              <a:ext uri="{FF2B5EF4-FFF2-40B4-BE49-F238E27FC236}">
                <a16:creationId xmlns:a16="http://schemas.microsoft.com/office/drawing/2014/main" id="{F60E6805-D191-AAAC-721D-97766D150312}"/>
              </a:ext>
            </a:extLst>
          </p:cNvPr>
          <p:cNvSpPr>
            <a:spLocks/>
          </p:cNvSpPr>
          <p:nvPr/>
        </p:nvSpPr>
        <p:spPr>
          <a:xfrm flipH="1">
            <a:off x="10346988" y="560664"/>
            <a:ext cx="1845013" cy="886350"/>
          </a:xfrm>
          <a:prstGeom prst="homePlate">
            <a:avLst>
              <a:gd name="adj" fmla="val 1507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544">
              <a:buClr>
                <a:srgbClr val="000000"/>
              </a:buClr>
            </a:pPr>
            <a:endParaRPr lang="en-US" sz="1270" kern="0" dirty="0">
              <a:solidFill>
                <a:srgbClr val="FFFFFF"/>
              </a:solidFill>
              <a:latin typeface="Calibri" panose="020F0502020204030204"/>
              <a:sym typeface="Arial"/>
            </a:endParaRPr>
          </a:p>
        </p:txBody>
      </p:sp>
      <p:sp>
        <p:nvSpPr>
          <p:cNvPr id="63" name="Google Shape;831;p25">
            <a:extLst>
              <a:ext uri="{FF2B5EF4-FFF2-40B4-BE49-F238E27FC236}">
                <a16:creationId xmlns:a16="http://schemas.microsoft.com/office/drawing/2014/main" id="{D79C79E1-9FD4-A584-4F44-463E677B2BE6}"/>
              </a:ext>
            </a:extLst>
          </p:cNvPr>
          <p:cNvSpPr>
            <a:spLocks/>
          </p:cNvSpPr>
          <p:nvPr/>
        </p:nvSpPr>
        <p:spPr>
          <a:xfrm>
            <a:off x="499720" y="2096784"/>
            <a:ext cx="3654893" cy="4200553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30631" tIns="163288" rIns="130631" bIns="163288" anchor="t" anchorCtr="0">
            <a:noAutofit/>
          </a:bodyPr>
          <a:lstStyle/>
          <a:p>
            <a:pPr algn="ctr" defTabSz="829544">
              <a:lnSpc>
                <a:spcPct val="130769"/>
              </a:lnSpc>
              <a:buClr>
                <a:srgbClr val="00B9FF"/>
              </a:buClr>
              <a:buSzPts val="1300"/>
            </a:pPr>
            <a:endParaRPr lang="en-US" sz="127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4" name="Google Shape;831;p25">
            <a:extLst>
              <a:ext uri="{FF2B5EF4-FFF2-40B4-BE49-F238E27FC236}">
                <a16:creationId xmlns:a16="http://schemas.microsoft.com/office/drawing/2014/main" id="{D95811C9-B676-7005-593A-F3C2E0DF10B2}"/>
              </a:ext>
            </a:extLst>
          </p:cNvPr>
          <p:cNvSpPr>
            <a:spLocks/>
          </p:cNvSpPr>
          <p:nvPr/>
        </p:nvSpPr>
        <p:spPr>
          <a:xfrm>
            <a:off x="8035681" y="2096784"/>
            <a:ext cx="3654893" cy="4200554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30631" tIns="163288" rIns="130631" bIns="163288" anchor="t" anchorCtr="0">
            <a:noAutofit/>
          </a:bodyPr>
          <a:lstStyle/>
          <a:p>
            <a:pPr algn="ctr" defTabSz="829544">
              <a:lnSpc>
                <a:spcPct val="130769"/>
              </a:lnSpc>
              <a:buClr>
                <a:srgbClr val="00B9FF"/>
              </a:buClr>
              <a:buSzPts val="1300"/>
            </a:pPr>
            <a:endParaRPr sz="127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5" name="Google Shape;831;p25">
            <a:extLst>
              <a:ext uri="{FF2B5EF4-FFF2-40B4-BE49-F238E27FC236}">
                <a16:creationId xmlns:a16="http://schemas.microsoft.com/office/drawing/2014/main" id="{7BA4A2F5-B9EF-10F4-13B0-86B15FA65BDC}"/>
              </a:ext>
            </a:extLst>
          </p:cNvPr>
          <p:cNvSpPr>
            <a:spLocks/>
          </p:cNvSpPr>
          <p:nvPr/>
        </p:nvSpPr>
        <p:spPr>
          <a:xfrm>
            <a:off x="4267701" y="2096784"/>
            <a:ext cx="3654893" cy="4200553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30631" tIns="163288" rIns="130631" bIns="163288" anchor="t" anchorCtr="0">
            <a:noAutofit/>
          </a:bodyPr>
          <a:lstStyle/>
          <a:p>
            <a:pPr algn="ctr" defTabSz="829544">
              <a:lnSpc>
                <a:spcPct val="130769"/>
              </a:lnSpc>
              <a:buClr>
                <a:srgbClr val="00B9FF"/>
              </a:buClr>
              <a:buSzPts val="1300"/>
            </a:pPr>
            <a:endParaRPr sz="127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" name="Google Shape;563;p30">
            <a:extLst>
              <a:ext uri="{FF2B5EF4-FFF2-40B4-BE49-F238E27FC236}">
                <a16:creationId xmlns:a16="http://schemas.microsoft.com/office/drawing/2014/main" id="{6604BE4A-F4BF-28A9-9640-54ABD8289778}"/>
              </a:ext>
            </a:extLst>
          </p:cNvPr>
          <p:cNvSpPr txBox="1">
            <a:spLocks/>
          </p:cNvSpPr>
          <p:nvPr/>
        </p:nvSpPr>
        <p:spPr>
          <a:xfrm>
            <a:off x="8177644" y="2511537"/>
            <a:ext cx="3444141" cy="36809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3" defTabSz="829544">
              <a:lnSpc>
                <a:spcPts val="1814"/>
              </a:lnSpc>
              <a:buClr>
                <a:srgbClr val="000000"/>
              </a:buClr>
            </a:pPr>
            <a:r>
              <a:rPr lang="en-IN" sz="1452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client benefited from Infomineo Data Analytics service on multiple fronts: </a:t>
            </a:r>
            <a:endParaRPr sz="1452" kern="0" dirty="0">
              <a:solidFill>
                <a:srgbClr val="222222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59232" lvl="3" indent="-259232" defTabSz="829544">
              <a:lnSpc>
                <a:spcPts val="1814"/>
              </a:lnSpc>
              <a:spcBef>
                <a:spcPts val="544"/>
              </a:spcBef>
              <a:buClr>
                <a:srgbClr val="00B9FF"/>
              </a:buClr>
              <a:buFont typeface="Wingdings" panose="05000000000000000000" pitchFamily="2" charset="2"/>
              <a:buChar char="§"/>
            </a:pPr>
            <a:r>
              <a:rPr lang="en-IN" sz="1452" b="1" kern="0" dirty="0">
                <a:solidFill>
                  <a:srgbClr val="00B9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Stable and Reliable Data:</a:t>
            </a:r>
          </a:p>
          <a:p>
            <a:pPr marL="259232" lvl="5" indent="-259232" defTabSz="829544">
              <a:lnSpc>
                <a:spcPts val="1814"/>
              </a:lnSpc>
              <a:buFont typeface="Calibri" panose="020F0502020204030204" pitchFamily="34" charset="0"/>
              <a:buChar char="⁻"/>
            </a:pPr>
            <a:r>
              <a:rPr lang="en-US" sz="1270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Correction &amp; Standardization of ERP data, </a:t>
            </a:r>
            <a:r>
              <a:rPr lang="en-US" sz="1270" b="1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eliminating manual file usage</a:t>
            </a:r>
          </a:p>
          <a:p>
            <a:pPr marL="259232" lvl="5" indent="-259232" defTabSz="829544">
              <a:lnSpc>
                <a:spcPts val="1814"/>
              </a:lnSpc>
              <a:buFont typeface="Calibri" panose="020F0502020204030204" pitchFamily="34" charset="0"/>
              <a:buChar char="⁻"/>
            </a:pPr>
            <a:r>
              <a:rPr lang="en-US" sz="1270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Significant enhancement in </a:t>
            </a:r>
            <a:r>
              <a:rPr lang="en-US" sz="1270" b="1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accuracy</a:t>
            </a:r>
            <a:r>
              <a:rPr lang="en-US" sz="1452" b="1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 +75% </a:t>
            </a:r>
            <a:r>
              <a:rPr lang="en-US" sz="1270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for Critical Data Elements</a:t>
            </a:r>
          </a:p>
          <a:p>
            <a:pPr marL="259232" lvl="3" indent="-259232" defTabSz="829544">
              <a:lnSpc>
                <a:spcPts val="1814"/>
              </a:lnSpc>
              <a:spcBef>
                <a:spcPts val="544"/>
              </a:spcBef>
              <a:buClr>
                <a:srgbClr val="00B9FF"/>
              </a:buClr>
              <a:buFont typeface="Wingdings" panose="05000000000000000000" pitchFamily="2" charset="2"/>
              <a:buChar char="§"/>
            </a:pPr>
            <a:r>
              <a:rPr lang="en-US" sz="1452" b="1" kern="0" dirty="0">
                <a:solidFill>
                  <a:srgbClr val="00B9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Organizational Efficiency: </a:t>
            </a:r>
            <a:r>
              <a:rPr lang="en-US" sz="1270" b="1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1 HR FTE </a:t>
            </a:r>
            <a:r>
              <a:rPr lang="en-US" sz="1270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reallocated to other tasks due to streamlined data processes.</a:t>
            </a:r>
          </a:p>
          <a:p>
            <a:pPr marL="259232" lvl="3" indent="-259232" defTabSz="829544">
              <a:lnSpc>
                <a:spcPts val="1814"/>
              </a:lnSpc>
              <a:spcBef>
                <a:spcPts val="544"/>
              </a:spcBef>
              <a:buClr>
                <a:srgbClr val="00B9FF"/>
              </a:buClr>
              <a:buFont typeface="Wingdings" panose="05000000000000000000" pitchFamily="2" charset="2"/>
              <a:buChar char="§"/>
            </a:pPr>
            <a:r>
              <a:rPr lang="en-US" sz="1452" b="1" kern="0" dirty="0">
                <a:solidFill>
                  <a:srgbClr val="00B9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Companywide</a:t>
            </a:r>
            <a:r>
              <a:rPr lang="en-US" sz="1452" b="1" kern="0" dirty="0">
                <a:solidFill>
                  <a:srgbClr val="0F47F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 </a:t>
            </a:r>
            <a:r>
              <a:rPr lang="en-US" sz="1452" b="1" kern="0" dirty="0">
                <a:solidFill>
                  <a:srgbClr val="00B9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ransformation</a:t>
            </a:r>
            <a:r>
              <a:rPr lang="en-US" sz="1452" kern="0" dirty="0">
                <a:solidFill>
                  <a:srgbClr val="00B9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: </a:t>
            </a:r>
            <a:r>
              <a:rPr lang="en-US" sz="1270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client embarked on a </a:t>
            </a:r>
            <a:r>
              <a:rPr lang="en-US" sz="1270" b="1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data transformation journey</a:t>
            </a:r>
            <a:r>
              <a:rPr lang="en-US" sz="1270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, partnering with Infomineo to create </a:t>
            </a:r>
            <a:r>
              <a:rPr lang="en-US" sz="1270" kern="0" dirty="0" err="1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alsol</a:t>
            </a:r>
            <a:r>
              <a:rPr lang="en-US" sz="1270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 </a:t>
            </a:r>
            <a:r>
              <a:rPr lang="en-US" sz="1270" b="1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financial dashboards</a:t>
            </a:r>
            <a:endParaRPr sz="1452" b="1" kern="0" dirty="0">
              <a:solidFill>
                <a:srgbClr val="222222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543;p30">
            <a:extLst>
              <a:ext uri="{FF2B5EF4-FFF2-40B4-BE49-F238E27FC236}">
                <a16:creationId xmlns:a16="http://schemas.microsoft.com/office/drawing/2014/main" id="{965346D9-9F85-F85E-25C0-97943DF282ED}"/>
              </a:ext>
            </a:extLst>
          </p:cNvPr>
          <p:cNvSpPr txBox="1">
            <a:spLocks/>
          </p:cNvSpPr>
          <p:nvPr/>
        </p:nvSpPr>
        <p:spPr>
          <a:xfrm>
            <a:off x="726905" y="2511537"/>
            <a:ext cx="3200523" cy="1025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829544">
              <a:lnSpc>
                <a:spcPts val="1633"/>
              </a:lnSpc>
              <a:buClr>
                <a:srgbClr val="000000"/>
              </a:buClr>
            </a:pPr>
            <a:r>
              <a:rPr lang="en-IN" sz="1452" kern="0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client wanted to have an automated Human Resource Dashboard to track, </a:t>
            </a:r>
            <a:r>
              <a:rPr lang="en-US" sz="1452" kern="0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analyze</a:t>
            </a:r>
            <a:r>
              <a:rPr lang="en-IN" sz="1452" kern="0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 and report on HR KPIs.</a:t>
            </a:r>
            <a:endParaRPr sz="1452" kern="0" dirty="0">
              <a:solidFill>
                <a:srgbClr val="000000"/>
              </a:solidFill>
              <a:latin typeface="Calibri" panose="020F0502020204030204"/>
              <a:cs typeface="Arial"/>
              <a:sym typeface="Arial"/>
            </a:endParaRPr>
          </a:p>
          <a:p>
            <a:pPr defTabSz="829544">
              <a:lnSpc>
                <a:spcPts val="1633"/>
              </a:lnSpc>
              <a:buClr>
                <a:srgbClr val="000000"/>
              </a:buClr>
            </a:pPr>
            <a:endParaRPr sz="1452" kern="0" dirty="0">
              <a:solidFill>
                <a:srgbClr val="444444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defTabSz="829544">
              <a:lnSpc>
                <a:spcPts val="1633"/>
              </a:lnSpc>
              <a:buClr>
                <a:srgbClr val="000000"/>
              </a:buClr>
            </a:pPr>
            <a:r>
              <a:rPr lang="en-IN" sz="1452" kern="0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firm was looking for: </a:t>
            </a:r>
            <a:endParaRPr sz="1452" kern="0" dirty="0">
              <a:solidFill>
                <a:srgbClr val="444444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565;p30">
            <a:extLst>
              <a:ext uri="{FF2B5EF4-FFF2-40B4-BE49-F238E27FC236}">
                <a16:creationId xmlns:a16="http://schemas.microsoft.com/office/drawing/2014/main" id="{3DED97C6-99D7-87EC-3609-03E131EE28F4}"/>
              </a:ext>
            </a:extLst>
          </p:cNvPr>
          <p:cNvSpPr txBox="1">
            <a:spLocks/>
          </p:cNvSpPr>
          <p:nvPr/>
        </p:nvSpPr>
        <p:spPr>
          <a:xfrm>
            <a:off x="4489977" y="2511537"/>
            <a:ext cx="3200523" cy="6546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829544">
              <a:lnSpc>
                <a:spcPts val="1633"/>
              </a:lnSpc>
              <a:buClr>
                <a:srgbClr val="000000"/>
              </a:buClr>
            </a:pPr>
            <a:r>
              <a:rPr lang="en-IN" sz="1452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company decided to use</a:t>
            </a:r>
            <a:r>
              <a:rPr lang="en-IN" sz="1452" b="1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 Infomineo’ Data Analytics service as a solution </a:t>
            </a:r>
            <a:r>
              <a:rPr lang="en-IN" sz="1452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o cover</a:t>
            </a:r>
            <a:r>
              <a:rPr lang="en-IN" sz="1452" b="1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:</a:t>
            </a:r>
            <a:endParaRPr sz="1452" kern="0" dirty="0">
              <a:solidFill>
                <a:srgbClr val="222222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67" name="Google Shape;540;p30">
            <a:extLst>
              <a:ext uri="{FF2B5EF4-FFF2-40B4-BE49-F238E27FC236}">
                <a16:creationId xmlns:a16="http://schemas.microsoft.com/office/drawing/2014/main" id="{27BA0A68-6DC4-A5AE-D93D-DDEDE497CB4B}"/>
              </a:ext>
            </a:extLst>
          </p:cNvPr>
          <p:cNvSpPr>
            <a:spLocks/>
          </p:cNvSpPr>
          <p:nvPr/>
        </p:nvSpPr>
        <p:spPr>
          <a:xfrm>
            <a:off x="8025868" y="1686527"/>
            <a:ext cx="3654893" cy="71386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algn="ctr" defTabSz="829544">
              <a:buClr>
                <a:srgbClr val="000000"/>
              </a:buClr>
            </a:pPr>
            <a:endParaRPr sz="2177" b="1" kern="0" dirty="0">
              <a:solidFill>
                <a:srgbClr val="FFFFFF"/>
              </a:solidFill>
              <a:highlight>
                <a:srgbClr val="FFFF00"/>
              </a:highlight>
              <a:latin typeface="Arial"/>
              <a:cs typeface="Arial"/>
              <a:sym typeface="Arial"/>
            </a:endParaRPr>
          </a:p>
        </p:txBody>
      </p:sp>
      <p:sp>
        <p:nvSpPr>
          <p:cNvPr id="68" name="Google Shape;541;p30">
            <a:extLst>
              <a:ext uri="{FF2B5EF4-FFF2-40B4-BE49-F238E27FC236}">
                <a16:creationId xmlns:a16="http://schemas.microsoft.com/office/drawing/2014/main" id="{497A69E6-D1A5-6AF9-EE29-8EE6DF2963C4}"/>
              </a:ext>
            </a:extLst>
          </p:cNvPr>
          <p:cNvSpPr txBox="1"/>
          <p:nvPr/>
        </p:nvSpPr>
        <p:spPr>
          <a:xfrm>
            <a:off x="8998252" y="1901065"/>
            <a:ext cx="1710125" cy="284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829544">
              <a:lnSpc>
                <a:spcPct val="85000"/>
              </a:lnSpc>
              <a:buClr>
                <a:srgbClr val="000000"/>
              </a:buClr>
            </a:pPr>
            <a:r>
              <a:rPr lang="en-IN" sz="2177" b="1" kern="0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Outcome</a:t>
            </a:r>
            <a:endParaRPr sz="2177" b="1" kern="0" dirty="0">
              <a:solidFill>
                <a:srgbClr val="000000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69" name="Google Shape;545;p30">
            <a:extLst>
              <a:ext uri="{FF2B5EF4-FFF2-40B4-BE49-F238E27FC236}">
                <a16:creationId xmlns:a16="http://schemas.microsoft.com/office/drawing/2014/main" id="{C7D9A90D-1786-4187-F2C5-3576731906F5}"/>
              </a:ext>
            </a:extLst>
          </p:cNvPr>
          <p:cNvSpPr>
            <a:spLocks/>
          </p:cNvSpPr>
          <p:nvPr/>
        </p:nvSpPr>
        <p:spPr>
          <a:xfrm>
            <a:off x="499720" y="1685023"/>
            <a:ext cx="3654893" cy="716872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algn="ctr" defTabSz="829544">
              <a:buClr>
                <a:srgbClr val="000000"/>
              </a:buClr>
            </a:pPr>
            <a:endParaRPr sz="1401" kern="0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0" name="Google Shape;546;p30">
            <a:extLst>
              <a:ext uri="{FF2B5EF4-FFF2-40B4-BE49-F238E27FC236}">
                <a16:creationId xmlns:a16="http://schemas.microsoft.com/office/drawing/2014/main" id="{8EC7BB4B-5745-B640-5ECF-CD5AAC1D117C}"/>
              </a:ext>
            </a:extLst>
          </p:cNvPr>
          <p:cNvSpPr txBox="1"/>
          <p:nvPr/>
        </p:nvSpPr>
        <p:spPr>
          <a:xfrm>
            <a:off x="1218392" y="1901065"/>
            <a:ext cx="2217549" cy="284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829544">
              <a:lnSpc>
                <a:spcPct val="85000"/>
              </a:lnSpc>
              <a:buClr>
                <a:srgbClr val="000000"/>
              </a:buClr>
            </a:pPr>
            <a:r>
              <a:rPr lang="en-IN" sz="2177" b="1" kern="0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Client Challenge</a:t>
            </a:r>
            <a:endParaRPr sz="2177" b="1" kern="0" dirty="0">
              <a:solidFill>
                <a:srgbClr val="000000"/>
              </a:solidFill>
              <a:latin typeface="Calibri" panose="020F0502020204030204"/>
              <a:cs typeface="Arial"/>
              <a:sym typeface="Arial"/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CFE9919F-15F4-023E-0988-74C0DB7A8D3A}"/>
              </a:ext>
            </a:extLst>
          </p:cNvPr>
          <p:cNvGrpSpPr/>
          <p:nvPr/>
        </p:nvGrpSpPr>
        <p:grpSpPr>
          <a:xfrm>
            <a:off x="3465991" y="1746794"/>
            <a:ext cx="592190" cy="593331"/>
            <a:chOff x="3416568" y="1395569"/>
            <a:chExt cx="955760" cy="957600"/>
          </a:xfrm>
        </p:grpSpPr>
        <p:sp>
          <p:nvSpPr>
            <p:cNvPr id="72" name="Google Shape;551;p30">
              <a:extLst>
                <a:ext uri="{FF2B5EF4-FFF2-40B4-BE49-F238E27FC236}">
                  <a16:creationId xmlns:a16="http://schemas.microsoft.com/office/drawing/2014/main" id="{7AC567B8-CB2C-7B6B-00F2-D43D8D9EE06E}"/>
                </a:ext>
              </a:extLst>
            </p:cNvPr>
            <p:cNvSpPr/>
            <p:nvPr/>
          </p:nvSpPr>
          <p:spPr>
            <a:xfrm>
              <a:off x="3416568" y="1395569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4" tIns="45698" rIns="91424" bIns="45698" anchor="ctr" anchorCtr="0">
              <a:noAutofit/>
            </a:bodyPr>
            <a:lstStyle/>
            <a:p>
              <a:pPr algn="ctr" defTabSz="829544">
                <a:buClr>
                  <a:srgbClr val="000000"/>
                </a:buClr>
              </a:pPr>
              <a:endParaRPr sz="1401" kern="0" dirty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  <p:pic>
          <p:nvPicPr>
            <p:cNvPr id="73" name="Google Shape;552;p30">
              <a:extLst>
                <a:ext uri="{FF2B5EF4-FFF2-40B4-BE49-F238E27FC236}">
                  <a16:creationId xmlns:a16="http://schemas.microsoft.com/office/drawing/2014/main" id="{E9D8B212-377A-4B1C-FE1F-44BBDA09FC1F}"/>
                </a:ext>
              </a:extLst>
            </p:cNvPr>
            <p:cNvPicPr preferRelativeResize="0"/>
            <p:nvPr/>
          </p:nvPicPr>
          <p:blipFill rotWithShape="1">
            <a:blip r:embed="rId6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568608" y="1548529"/>
              <a:ext cx="651681" cy="6516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4" name="Google Shape;566;p30">
            <a:extLst>
              <a:ext uri="{FF2B5EF4-FFF2-40B4-BE49-F238E27FC236}">
                <a16:creationId xmlns:a16="http://schemas.microsoft.com/office/drawing/2014/main" id="{FA21B87D-2D31-A065-F658-8E483CBC1C78}"/>
              </a:ext>
            </a:extLst>
          </p:cNvPr>
          <p:cNvSpPr>
            <a:spLocks/>
          </p:cNvSpPr>
          <p:nvPr/>
        </p:nvSpPr>
        <p:spPr>
          <a:xfrm>
            <a:off x="4262794" y="1685023"/>
            <a:ext cx="3654893" cy="716872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algn="ctr" defTabSz="829544">
              <a:buClr>
                <a:srgbClr val="000000"/>
              </a:buClr>
            </a:pPr>
            <a:endParaRPr sz="1597" kern="0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5" name="Google Shape;567;p30">
            <a:extLst>
              <a:ext uri="{FF2B5EF4-FFF2-40B4-BE49-F238E27FC236}">
                <a16:creationId xmlns:a16="http://schemas.microsoft.com/office/drawing/2014/main" id="{02BEBACB-D89C-DE2E-ECB3-DEBD3F1B6A68}"/>
              </a:ext>
            </a:extLst>
          </p:cNvPr>
          <p:cNvSpPr txBox="1"/>
          <p:nvPr/>
        </p:nvSpPr>
        <p:spPr>
          <a:xfrm>
            <a:off x="5210232" y="1901065"/>
            <a:ext cx="1760015" cy="284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829544">
              <a:lnSpc>
                <a:spcPct val="85000"/>
              </a:lnSpc>
              <a:buClr>
                <a:srgbClr val="000000"/>
              </a:buClr>
            </a:pPr>
            <a:r>
              <a:rPr lang="en-IN" sz="2177" b="1" kern="0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Our Solution</a:t>
            </a:r>
            <a:endParaRPr sz="2177" b="1" kern="0" dirty="0">
              <a:solidFill>
                <a:srgbClr val="000000"/>
              </a:solidFill>
              <a:latin typeface="Calibri" panose="020F0502020204030204"/>
              <a:cs typeface="Arial"/>
              <a:sym typeface="Arial"/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C9087BB1-2562-AC83-FF1C-CB4ADD670F58}"/>
              </a:ext>
            </a:extLst>
          </p:cNvPr>
          <p:cNvGrpSpPr/>
          <p:nvPr/>
        </p:nvGrpSpPr>
        <p:grpSpPr>
          <a:xfrm>
            <a:off x="7222958" y="1746794"/>
            <a:ext cx="592190" cy="593331"/>
            <a:chOff x="7762572" y="1395569"/>
            <a:chExt cx="955760" cy="957600"/>
          </a:xfrm>
        </p:grpSpPr>
        <p:sp>
          <p:nvSpPr>
            <p:cNvPr id="76" name="Google Shape;568;p30">
              <a:extLst>
                <a:ext uri="{FF2B5EF4-FFF2-40B4-BE49-F238E27FC236}">
                  <a16:creationId xmlns:a16="http://schemas.microsoft.com/office/drawing/2014/main" id="{483098E1-C41C-B52A-2C2A-B7DEF91693DA}"/>
                </a:ext>
              </a:extLst>
            </p:cNvPr>
            <p:cNvSpPr/>
            <p:nvPr/>
          </p:nvSpPr>
          <p:spPr>
            <a:xfrm>
              <a:off x="7762572" y="1395569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4" tIns="45698" rIns="91424" bIns="45698" anchor="ctr" anchorCtr="0">
              <a:noAutofit/>
            </a:bodyPr>
            <a:lstStyle/>
            <a:p>
              <a:pPr algn="ctr" defTabSz="829544">
                <a:buClr>
                  <a:srgbClr val="000000"/>
                </a:buClr>
              </a:pPr>
              <a:endParaRPr sz="1597" kern="0" dirty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  <p:pic>
          <p:nvPicPr>
            <p:cNvPr id="77" name="Google Shape;569;p30">
              <a:extLst>
                <a:ext uri="{FF2B5EF4-FFF2-40B4-BE49-F238E27FC236}">
                  <a16:creationId xmlns:a16="http://schemas.microsoft.com/office/drawing/2014/main" id="{DDBEE1B2-2558-37C2-F7C8-217F1E77F8D8}"/>
                </a:ext>
              </a:extLst>
            </p:cNvPr>
            <p:cNvPicPr preferRelativeResize="0"/>
            <p:nvPr/>
          </p:nvPicPr>
          <p:blipFill rotWithShape="1">
            <a:blip r:embed="rId7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09107" y="1543024"/>
              <a:ext cx="662691" cy="66269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6CF3BF89-D5CB-F433-CD46-1D9D5B64E278}"/>
              </a:ext>
            </a:extLst>
          </p:cNvPr>
          <p:cNvGrpSpPr/>
          <p:nvPr/>
        </p:nvGrpSpPr>
        <p:grpSpPr>
          <a:xfrm>
            <a:off x="10997736" y="1746794"/>
            <a:ext cx="592190" cy="593331"/>
            <a:chOff x="12019931" y="1366765"/>
            <a:chExt cx="955760" cy="957600"/>
          </a:xfrm>
        </p:grpSpPr>
        <p:sp>
          <p:nvSpPr>
            <p:cNvPr id="79" name="Google Shape;583;p30">
              <a:extLst>
                <a:ext uri="{FF2B5EF4-FFF2-40B4-BE49-F238E27FC236}">
                  <a16:creationId xmlns:a16="http://schemas.microsoft.com/office/drawing/2014/main" id="{48B8D64B-B2F4-F87A-15EE-E731299D19AB}"/>
                </a:ext>
              </a:extLst>
            </p:cNvPr>
            <p:cNvSpPr/>
            <p:nvPr/>
          </p:nvSpPr>
          <p:spPr>
            <a:xfrm>
              <a:off x="12019931" y="1366765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4" tIns="45698" rIns="91424" bIns="45698" anchor="ctr" anchorCtr="0">
              <a:noAutofit/>
            </a:bodyPr>
            <a:lstStyle/>
            <a:p>
              <a:pPr algn="ctr" defTabSz="829544">
                <a:buClr>
                  <a:srgbClr val="000000"/>
                </a:buClr>
              </a:pPr>
              <a:endParaRPr sz="1401" kern="0" dirty="0">
                <a:solidFill>
                  <a:srgbClr val="FFFFFF"/>
                </a:solidFill>
                <a:highlight>
                  <a:srgbClr val="FFFF00"/>
                </a:highlight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80" name="Google Shape;584;p30">
              <a:extLst>
                <a:ext uri="{FF2B5EF4-FFF2-40B4-BE49-F238E27FC236}">
                  <a16:creationId xmlns:a16="http://schemas.microsoft.com/office/drawing/2014/main" id="{EE262A71-A3A2-01C0-F4DA-72E751BCB797}"/>
                </a:ext>
              </a:extLst>
            </p:cNvPr>
            <p:cNvGrpSpPr/>
            <p:nvPr/>
          </p:nvGrpSpPr>
          <p:grpSpPr>
            <a:xfrm>
              <a:off x="12226115" y="1593618"/>
              <a:ext cx="543392" cy="503895"/>
              <a:chOff x="10915170" y="2075424"/>
              <a:chExt cx="432288" cy="400866"/>
            </a:xfrm>
          </p:grpSpPr>
          <p:sp>
            <p:nvSpPr>
              <p:cNvPr id="81" name="Google Shape;585;p30">
                <a:extLst>
                  <a:ext uri="{FF2B5EF4-FFF2-40B4-BE49-F238E27FC236}">
                    <a16:creationId xmlns:a16="http://schemas.microsoft.com/office/drawing/2014/main" id="{4A9FC926-2B21-D840-8C6F-64FF1A5DFBA9}"/>
                  </a:ext>
                </a:extLst>
              </p:cNvPr>
              <p:cNvSpPr/>
              <p:nvPr/>
            </p:nvSpPr>
            <p:spPr>
              <a:xfrm>
                <a:off x="10915170" y="2075424"/>
                <a:ext cx="432288" cy="400866"/>
              </a:xfrm>
              <a:custGeom>
                <a:avLst/>
                <a:gdLst/>
                <a:ahLst/>
                <a:cxnLst/>
                <a:rect l="l" t="t" r="r" b="b"/>
                <a:pathLst>
                  <a:path w="840" h="806" extrusionOk="0">
                    <a:moveTo>
                      <a:pt x="831" y="80"/>
                    </a:moveTo>
                    <a:cubicBezTo>
                      <a:pt x="114" y="80"/>
                      <a:pt x="114" y="80"/>
                      <a:pt x="114" y="80"/>
                    </a:cubicBezTo>
                    <a:cubicBezTo>
                      <a:pt x="114" y="8"/>
                      <a:pt x="114" y="8"/>
                      <a:pt x="114" y="8"/>
                    </a:cubicBezTo>
                    <a:cubicBezTo>
                      <a:pt x="114" y="4"/>
                      <a:pt x="110" y="0"/>
                      <a:pt x="105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25" y="0"/>
                      <a:pt x="0" y="25"/>
                      <a:pt x="0" y="57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0" y="780"/>
                      <a:pt x="25" y="806"/>
                      <a:pt x="57" y="806"/>
                    </a:cubicBezTo>
                    <a:cubicBezTo>
                      <a:pt x="95" y="806"/>
                      <a:pt x="95" y="806"/>
                      <a:pt x="95" y="806"/>
                    </a:cubicBezTo>
                    <a:cubicBezTo>
                      <a:pt x="105" y="806"/>
                      <a:pt x="105" y="806"/>
                      <a:pt x="105" y="806"/>
                    </a:cubicBezTo>
                    <a:cubicBezTo>
                      <a:pt x="831" y="806"/>
                      <a:pt x="831" y="806"/>
                      <a:pt x="831" y="806"/>
                    </a:cubicBezTo>
                    <a:cubicBezTo>
                      <a:pt x="836" y="806"/>
                      <a:pt x="840" y="802"/>
                      <a:pt x="840" y="797"/>
                    </a:cubicBezTo>
                    <a:cubicBezTo>
                      <a:pt x="840" y="89"/>
                      <a:pt x="840" y="89"/>
                      <a:pt x="840" y="89"/>
                    </a:cubicBezTo>
                    <a:cubicBezTo>
                      <a:pt x="840" y="84"/>
                      <a:pt x="836" y="80"/>
                      <a:pt x="831" y="80"/>
                    </a:cubicBezTo>
                    <a:close/>
                    <a:moveTo>
                      <a:pt x="57" y="17"/>
                    </a:moveTo>
                    <a:cubicBezTo>
                      <a:pt x="97" y="17"/>
                      <a:pt x="97" y="17"/>
                      <a:pt x="97" y="17"/>
                    </a:cubicBezTo>
                    <a:cubicBezTo>
                      <a:pt x="97" y="692"/>
                      <a:pt x="97" y="692"/>
                      <a:pt x="97" y="692"/>
                    </a:cubicBezTo>
                    <a:cubicBezTo>
                      <a:pt x="57" y="692"/>
                      <a:pt x="57" y="692"/>
                      <a:pt x="57" y="692"/>
                    </a:cubicBezTo>
                    <a:cubicBezTo>
                      <a:pt x="41" y="692"/>
                      <a:pt x="27" y="698"/>
                      <a:pt x="17" y="70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35"/>
                      <a:pt x="35" y="17"/>
                      <a:pt x="57" y="17"/>
                    </a:cubicBezTo>
                    <a:close/>
                    <a:moveTo>
                      <a:pt x="823" y="788"/>
                    </a:moveTo>
                    <a:cubicBezTo>
                      <a:pt x="105" y="788"/>
                      <a:pt x="105" y="788"/>
                      <a:pt x="105" y="788"/>
                    </a:cubicBezTo>
                    <a:cubicBezTo>
                      <a:pt x="95" y="788"/>
                      <a:pt x="95" y="788"/>
                      <a:pt x="95" y="788"/>
                    </a:cubicBezTo>
                    <a:cubicBezTo>
                      <a:pt x="57" y="788"/>
                      <a:pt x="57" y="788"/>
                      <a:pt x="57" y="788"/>
                    </a:cubicBezTo>
                    <a:cubicBezTo>
                      <a:pt x="35" y="788"/>
                      <a:pt x="17" y="771"/>
                      <a:pt x="17" y="749"/>
                    </a:cubicBezTo>
                    <a:cubicBezTo>
                      <a:pt x="17" y="727"/>
                      <a:pt x="35" y="709"/>
                      <a:pt x="57" y="709"/>
                    </a:cubicBezTo>
                    <a:cubicBezTo>
                      <a:pt x="105" y="709"/>
                      <a:pt x="105" y="709"/>
                      <a:pt x="105" y="709"/>
                    </a:cubicBezTo>
                    <a:cubicBezTo>
                      <a:pt x="110" y="709"/>
                      <a:pt x="114" y="705"/>
                      <a:pt x="114" y="700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823" y="98"/>
                      <a:pt x="823" y="98"/>
                      <a:pt x="823" y="98"/>
                    </a:cubicBezTo>
                    <a:lnTo>
                      <a:pt x="823" y="788"/>
                    </a:lnTo>
                    <a:close/>
                  </a:path>
                </a:pathLst>
              </a:custGeom>
              <a:noFill/>
              <a:ln w="63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4" tIns="45698" rIns="91424" bIns="45698" anchor="t" anchorCtr="0">
                <a:noAutofit/>
              </a:bodyPr>
              <a:lstStyle/>
              <a:p>
                <a:pPr defTabSz="829544">
                  <a:buClr>
                    <a:srgbClr val="000000"/>
                  </a:buClr>
                </a:pPr>
                <a:endParaRPr sz="1801" kern="0" dirty="0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586;p30">
                <a:extLst>
                  <a:ext uri="{FF2B5EF4-FFF2-40B4-BE49-F238E27FC236}">
                    <a16:creationId xmlns:a16="http://schemas.microsoft.com/office/drawing/2014/main" id="{DD05F787-065E-1133-86E6-3AF1EDEE739F}"/>
                  </a:ext>
                </a:extLst>
              </p:cNvPr>
              <p:cNvSpPr/>
              <p:nvPr/>
            </p:nvSpPr>
            <p:spPr>
              <a:xfrm>
                <a:off x="11005647" y="2167089"/>
                <a:ext cx="282550" cy="266407"/>
              </a:xfrm>
              <a:custGeom>
                <a:avLst/>
                <a:gdLst/>
                <a:ahLst/>
                <a:cxnLst/>
                <a:rect l="l" t="t" r="r" b="b"/>
                <a:pathLst>
                  <a:path w="549" h="537" extrusionOk="0">
                    <a:moveTo>
                      <a:pt x="4" y="226"/>
                    </a:moveTo>
                    <a:cubicBezTo>
                      <a:pt x="71" y="293"/>
                      <a:pt x="71" y="293"/>
                      <a:pt x="71" y="293"/>
                    </a:cubicBezTo>
                    <a:cubicBezTo>
                      <a:pt x="73" y="295"/>
                      <a:pt x="75" y="296"/>
                      <a:pt x="77" y="296"/>
                    </a:cubicBezTo>
                    <a:cubicBezTo>
                      <a:pt x="79" y="296"/>
                      <a:pt x="81" y="295"/>
                      <a:pt x="83" y="293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295" y="229"/>
                      <a:pt x="295" y="229"/>
                      <a:pt x="295" y="229"/>
                    </a:cubicBezTo>
                    <a:cubicBezTo>
                      <a:pt x="437" y="229"/>
                      <a:pt x="437" y="229"/>
                      <a:pt x="437" y="229"/>
                    </a:cubicBezTo>
                    <a:cubicBezTo>
                      <a:pt x="437" y="268"/>
                      <a:pt x="437" y="268"/>
                      <a:pt x="437" y="268"/>
                    </a:cubicBezTo>
                    <a:cubicBezTo>
                      <a:pt x="437" y="272"/>
                      <a:pt x="441" y="276"/>
                      <a:pt x="446" y="276"/>
                    </a:cubicBezTo>
                    <a:cubicBezTo>
                      <a:pt x="484" y="276"/>
                      <a:pt x="484" y="276"/>
                      <a:pt x="484" y="276"/>
                    </a:cubicBezTo>
                    <a:cubicBezTo>
                      <a:pt x="484" y="418"/>
                      <a:pt x="484" y="418"/>
                      <a:pt x="484" y="418"/>
                    </a:cubicBezTo>
                    <a:cubicBezTo>
                      <a:pt x="460" y="422"/>
                      <a:pt x="442" y="441"/>
                      <a:pt x="438" y="465"/>
                    </a:cubicBezTo>
                    <a:cubicBezTo>
                      <a:pt x="116" y="465"/>
                      <a:pt x="116" y="465"/>
                      <a:pt x="116" y="465"/>
                    </a:cubicBezTo>
                    <a:cubicBezTo>
                      <a:pt x="116" y="419"/>
                      <a:pt x="116" y="419"/>
                      <a:pt x="116" y="419"/>
                    </a:cubicBezTo>
                    <a:cubicBezTo>
                      <a:pt x="116" y="416"/>
                      <a:pt x="115" y="413"/>
                      <a:pt x="112" y="411"/>
                    </a:cubicBezTo>
                    <a:cubicBezTo>
                      <a:pt x="110" y="410"/>
                      <a:pt x="106" y="410"/>
                      <a:pt x="104" y="411"/>
                    </a:cubicBezTo>
                    <a:cubicBezTo>
                      <a:pt x="9" y="466"/>
                      <a:pt x="9" y="466"/>
                      <a:pt x="9" y="466"/>
                    </a:cubicBezTo>
                    <a:cubicBezTo>
                      <a:pt x="6" y="468"/>
                      <a:pt x="5" y="470"/>
                      <a:pt x="5" y="474"/>
                    </a:cubicBezTo>
                    <a:cubicBezTo>
                      <a:pt x="5" y="477"/>
                      <a:pt x="6" y="479"/>
                      <a:pt x="9" y="481"/>
                    </a:cubicBezTo>
                    <a:cubicBezTo>
                      <a:pt x="104" y="536"/>
                      <a:pt x="104" y="536"/>
                      <a:pt x="104" y="536"/>
                    </a:cubicBezTo>
                    <a:cubicBezTo>
                      <a:pt x="105" y="536"/>
                      <a:pt x="106" y="537"/>
                      <a:pt x="108" y="537"/>
                    </a:cubicBezTo>
                    <a:cubicBezTo>
                      <a:pt x="109" y="537"/>
                      <a:pt x="111" y="536"/>
                      <a:pt x="112" y="536"/>
                    </a:cubicBezTo>
                    <a:cubicBezTo>
                      <a:pt x="115" y="534"/>
                      <a:pt x="116" y="531"/>
                      <a:pt x="116" y="528"/>
                    </a:cubicBezTo>
                    <a:cubicBezTo>
                      <a:pt x="116" y="482"/>
                      <a:pt x="116" y="482"/>
                      <a:pt x="116" y="482"/>
                    </a:cubicBezTo>
                    <a:cubicBezTo>
                      <a:pt x="438" y="482"/>
                      <a:pt x="438" y="482"/>
                      <a:pt x="438" y="482"/>
                    </a:cubicBezTo>
                    <a:cubicBezTo>
                      <a:pt x="442" y="509"/>
                      <a:pt x="465" y="530"/>
                      <a:pt x="493" y="530"/>
                    </a:cubicBezTo>
                    <a:cubicBezTo>
                      <a:pt x="524" y="530"/>
                      <a:pt x="549" y="504"/>
                      <a:pt x="549" y="474"/>
                    </a:cubicBezTo>
                    <a:cubicBezTo>
                      <a:pt x="549" y="446"/>
                      <a:pt x="528" y="423"/>
                      <a:pt x="502" y="418"/>
                    </a:cubicBezTo>
                    <a:cubicBezTo>
                      <a:pt x="502" y="276"/>
                      <a:pt x="502" y="276"/>
                      <a:pt x="502" y="276"/>
                    </a:cubicBezTo>
                    <a:cubicBezTo>
                      <a:pt x="540" y="276"/>
                      <a:pt x="540" y="276"/>
                      <a:pt x="540" y="276"/>
                    </a:cubicBezTo>
                    <a:cubicBezTo>
                      <a:pt x="545" y="276"/>
                      <a:pt x="549" y="272"/>
                      <a:pt x="549" y="268"/>
                    </a:cubicBezTo>
                    <a:cubicBezTo>
                      <a:pt x="549" y="173"/>
                      <a:pt x="549" y="173"/>
                      <a:pt x="549" y="173"/>
                    </a:cubicBezTo>
                    <a:cubicBezTo>
                      <a:pt x="549" y="168"/>
                      <a:pt x="545" y="164"/>
                      <a:pt x="540" y="164"/>
                    </a:cubicBezTo>
                    <a:cubicBezTo>
                      <a:pt x="446" y="164"/>
                      <a:pt x="446" y="164"/>
                      <a:pt x="446" y="164"/>
                    </a:cubicBezTo>
                    <a:cubicBezTo>
                      <a:pt x="441" y="164"/>
                      <a:pt x="437" y="168"/>
                      <a:pt x="437" y="173"/>
                    </a:cubicBezTo>
                    <a:cubicBezTo>
                      <a:pt x="437" y="212"/>
                      <a:pt x="437" y="212"/>
                      <a:pt x="437" y="212"/>
                    </a:cubicBezTo>
                    <a:cubicBezTo>
                      <a:pt x="303" y="212"/>
                      <a:pt x="303" y="212"/>
                      <a:pt x="303" y="212"/>
                    </a:cubicBezTo>
                    <a:cubicBezTo>
                      <a:pt x="303" y="140"/>
                      <a:pt x="303" y="140"/>
                      <a:pt x="303" y="140"/>
                    </a:cubicBezTo>
                    <a:cubicBezTo>
                      <a:pt x="338" y="136"/>
                      <a:pt x="365" y="107"/>
                      <a:pt x="365" y="71"/>
                    </a:cubicBezTo>
                    <a:cubicBezTo>
                      <a:pt x="365" y="32"/>
                      <a:pt x="334" y="0"/>
                      <a:pt x="295" y="0"/>
                    </a:cubicBezTo>
                    <a:cubicBezTo>
                      <a:pt x="259" y="0"/>
                      <a:pt x="230" y="27"/>
                      <a:pt x="225" y="62"/>
                    </a:cubicBezTo>
                    <a:cubicBezTo>
                      <a:pt x="77" y="62"/>
                      <a:pt x="77" y="62"/>
                      <a:pt x="77" y="62"/>
                    </a:cubicBezTo>
                    <a:cubicBezTo>
                      <a:pt x="72" y="62"/>
                      <a:pt x="68" y="66"/>
                      <a:pt x="68" y="71"/>
                    </a:cubicBezTo>
                    <a:cubicBezTo>
                      <a:pt x="68" y="150"/>
                      <a:pt x="68" y="150"/>
                      <a:pt x="68" y="150"/>
                    </a:cubicBezTo>
                    <a:cubicBezTo>
                      <a:pt x="4" y="214"/>
                      <a:pt x="4" y="214"/>
                      <a:pt x="4" y="214"/>
                    </a:cubicBezTo>
                    <a:cubicBezTo>
                      <a:pt x="0" y="217"/>
                      <a:pt x="0" y="223"/>
                      <a:pt x="4" y="226"/>
                    </a:cubicBezTo>
                    <a:close/>
                    <a:moveTo>
                      <a:pt x="99" y="513"/>
                    </a:moveTo>
                    <a:cubicBezTo>
                      <a:pt x="30" y="474"/>
                      <a:pt x="30" y="474"/>
                      <a:pt x="30" y="474"/>
                    </a:cubicBezTo>
                    <a:cubicBezTo>
                      <a:pt x="99" y="434"/>
                      <a:pt x="99" y="434"/>
                      <a:pt x="99" y="434"/>
                    </a:cubicBezTo>
                    <a:lnTo>
                      <a:pt x="99" y="513"/>
                    </a:lnTo>
                    <a:close/>
                    <a:moveTo>
                      <a:pt x="532" y="474"/>
                    </a:moveTo>
                    <a:cubicBezTo>
                      <a:pt x="532" y="495"/>
                      <a:pt x="514" y="512"/>
                      <a:pt x="493" y="512"/>
                    </a:cubicBezTo>
                    <a:cubicBezTo>
                      <a:pt x="472" y="512"/>
                      <a:pt x="454" y="495"/>
                      <a:pt x="454" y="474"/>
                    </a:cubicBezTo>
                    <a:cubicBezTo>
                      <a:pt x="454" y="452"/>
                      <a:pt x="472" y="435"/>
                      <a:pt x="493" y="435"/>
                    </a:cubicBezTo>
                    <a:cubicBezTo>
                      <a:pt x="514" y="435"/>
                      <a:pt x="532" y="452"/>
                      <a:pt x="532" y="474"/>
                    </a:cubicBezTo>
                    <a:close/>
                    <a:moveTo>
                      <a:pt x="454" y="181"/>
                    </a:moveTo>
                    <a:cubicBezTo>
                      <a:pt x="532" y="181"/>
                      <a:pt x="532" y="181"/>
                      <a:pt x="532" y="181"/>
                    </a:cubicBezTo>
                    <a:cubicBezTo>
                      <a:pt x="532" y="259"/>
                      <a:pt x="532" y="259"/>
                      <a:pt x="532" y="259"/>
                    </a:cubicBezTo>
                    <a:cubicBezTo>
                      <a:pt x="454" y="259"/>
                      <a:pt x="454" y="259"/>
                      <a:pt x="454" y="259"/>
                    </a:cubicBezTo>
                    <a:lnTo>
                      <a:pt x="454" y="181"/>
                    </a:lnTo>
                    <a:close/>
                    <a:moveTo>
                      <a:pt x="295" y="17"/>
                    </a:moveTo>
                    <a:cubicBezTo>
                      <a:pt x="324" y="17"/>
                      <a:pt x="348" y="41"/>
                      <a:pt x="348" y="71"/>
                    </a:cubicBezTo>
                    <a:cubicBezTo>
                      <a:pt x="348" y="100"/>
                      <a:pt x="324" y="124"/>
                      <a:pt x="295" y="124"/>
                    </a:cubicBezTo>
                    <a:cubicBezTo>
                      <a:pt x="265" y="124"/>
                      <a:pt x="242" y="100"/>
                      <a:pt x="242" y="71"/>
                    </a:cubicBezTo>
                    <a:cubicBezTo>
                      <a:pt x="242" y="41"/>
                      <a:pt x="265" y="17"/>
                      <a:pt x="295" y="17"/>
                    </a:cubicBezTo>
                    <a:close/>
                    <a:moveTo>
                      <a:pt x="225" y="79"/>
                    </a:moveTo>
                    <a:cubicBezTo>
                      <a:pt x="229" y="111"/>
                      <a:pt x="254" y="136"/>
                      <a:pt x="286" y="140"/>
                    </a:cubicBezTo>
                    <a:cubicBezTo>
                      <a:pt x="286" y="212"/>
                      <a:pt x="286" y="212"/>
                      <a:pt x="286" y="212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86" y="150"/>
                      <a:pt x="86" y="150"/>
                      <a:pt x="86" y="150"/>
                    </a:cubicBezTo>
                    <a:cubicBezTo>
                      <a:pt x="86" y="79"/>
                      <a:pt x="86" y="79"/>
                      <a:pt x="86" y="79"/>
                    </a:cubicBezTo>
                    <a:lnTo>
                      <a:pt x="225" y="79"/>
                    </a:lnTo>
                    <a:close/>
                    <a:moveTo>
                      <a:pt x="77" y="165"/>
                    </a:moveTo>
                    <a:cubicBezTo>
                      <a:pt x="132" y="220"/>
                      <a:pt x="132" y="220"/>
                      <a:pt x="132" y="220"/>
                    </a:cubicBezTo>
                    <a:cubicBezTo>
                      <a:pt x="77" y="275"/>
                      <a:pt x="77" y="275"/>
                      <a:pt x="77" y="275"/>
                    </a:cubicBezTo>
                    <a:cubicBezTo>
                      <a:pt x="22" y="220"/>
                      <a:pt x="22" y="220"/>
                      <a:pt x="22" y="220"/>
                    </a:cubicBezTo>
                    <a:lnTo>
                      <a:pt x="77" y="165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4" tIns="45698" rIns="91424" bIns="45698" anchor="t" anchorCtr="0">
                <a:noAutofit/>
              </a:bodyPr>
              <a:lstStyle/>
              <a:p>
                <a:pPr defTabSz="829544">
                  <a:buClr>
                    <a:srgbClr val="000000"/>
                  </a:buClr>
                </a:pPr>
                <a:endParaRPr sz="1801" kern="0" dirty="0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621799D4-3A15-E3E8-C631-D79D8E60224E}"/>
              </a:ext>
            </a:extLst>
          </p:cNvPr>
          <p:cNvGrpSpPr/>
          <p:nvPr/>
        </p:nvGrpSpPr>
        <p:grpSpPr>
          <a:xfrm>
            <a:off x="4489978" y="5250140"/>
            <a:ext cx="3177496" cy="690816"/>
            <a:chOff x="4949498" y="5682606"/>
            <a:chExt cx="3502693" cy="761517"/>
          </a:xfrm>
        </p:grpSpPr>
        <p:sp>
          <p:nvSpPr>
            <p:cNvPr id="50" name="Google Shape;573;p30">
              <a:extLst>
                <a:ext uri="{FF2B5EF4-FFF2-40B4-BE49-F238E27FC236}">
                  <a16:creationId xmlns:a16="http://schemas.microsoft.com/office/drawing/2014/main" id="{8258115C-502F-0BBB-962A-03BFE0454D92}"/>
                </a:ext>
              </a:extLst>
            </p:cNvPr>
            <p:cNvSpPr txBox="1"/>
            <p:nvPr/>
          </p:nvSpPr>
          <p:spPr>
            <a:xfrm>
              <a:off x="5582955" y="5682606"/>
              <a:ext cx="2869236" cy="76151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defTabSz="829544">
                <a:buClr>
                  <a:srgbClr val="000000"/>
                </a:buClr>
              </a:pPr>
              <a:r>
                <a:rPr lang="en-IN" sz="1452" b="1" kern="0" dirty="0">
                  <a:solidFill>
                    <a:srgbClr val="000000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Ad-hoc deliverables: </a:t>
              </a:r>
              <a:r>
                <a:rPr lang="en-IN" sz="1452" kern="0" dirty="0">
                  <a:solidFill>
                    <a:srgbClr val="000000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Dictionaries, Creation of Metadata, Data Quality Process</a:t>
              </a:r>
              <a:endParaRPr sz="1452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7204C0D3-58D2-E0D3-E238-A0CC367FFF7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49498" y="5682606"/>
              <a:ext cx="548640" cy="548640"/>
              <a:chOff x="4887648" y="6069599"/>
              <a:chExt cx="503992" cy="503992"/>
            </a:xfrm>
          </p:grpSpPr>
          <p:sp>
            <p:nvSpPr>
              <p:cNvPr id="62" name="Google Shape;558;p30">
                <a:extLst>
                  <a:ext uri="{FF2B5EF4-FFF2-40B4-BE49-F238E27FC236}">
                    <a16:creationId xmlns:a16="http://schemas.microsoft.com/office/drawing/2014/main" id="{54180ABC-A787-9438-4AB6-3C4600014C42}"/>
                  </a:ext>
                </a:extLst>
              </p:cNvPr>
              <p:cNvSpPr/>
              <p:nvPr/>
            </p:nvSpPr>
            <p:spPr>
              <a:xfrm>
                <a:off x="4887648" y="6069599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4" tIns="45698" rIns="91424" bIns="45698" anchor="ctr" anchorCtr="0">
                <a:noAutofit/>
              </a:bodyPr>
              <a:lstStyle/>
              <a:p>
                <a:pPr algn="ctr" defTabSz="829544">
                  <a:buClr>
                    <a:srgbClr val="000000"/>
                  </a:buClr>
                </a:pPr>
                <a:endParaRPr sz="1633" kern="0" dirty="0">
                  <a:solidFill>
                    <a:srgbClr val="FFFFFF"/>
                  </a:solidFill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93" name="Graphic 92">
                <a:extLst>
                  <a:ext uri="{FF2B5EF4-FFF2-40B4-BE49-F238E27FC236}">
                    <a16:creationId xmlns:a16="http://schemas.microsoft.com/office/drawing/2014/main" id="{8AEE5EC5-F600-6F3A-0573-766B005E00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035553" y="6184975"/>
                <a:ext cx="208183" cy="273240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7928818-26F9-4C07-9E98-4BD719FCA425}"/>
              </a:ext>
            </a:extLst>
          </p:cNvPr>
          <p:cNvGrpSpPr/>
          <p:nvPr/>
        </p:nvGrpSpPr>
        <p:grpSpPr>
          <a:xfrm>
            <a:off x="4489977" y="4325452"/>
            <a:ext cx="3200523" cy="504461"/>
            <a:chOff x="4949498" y="4489546"/>
            <a:chExt cx="3528076" cy="556089"/>
          </a:xfrm>
        </p:grpSpPr>
        <p:sp>
          <p:nvSpPr>
            <p:cNvPr id="58" name="Google Shape;581;p30">
              <a:extLst>
                <a:ext uri="{FF2B5EF4-FFF2-40B4-BE49-F238E27FC236}">
                  <a16:creationId xmlns:a16="http://schemas.microsoft.com/office/drawing/2014/main" id="{CA120129-9FC4-C99D-6C2E-0EF68BB29563}"/>
                </a:ext>
              </a:extLst>
            </p:cNvPr>
            <p:cNvSpPr txBox="1"/>
            <p:nvPr/>
          </p:nvSpPr>
          <p:spPr>
            <a:xfrm>
              <a:off x="5582955" y="4489546"/>
              <a:ext cx="2894619" cy="5560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defTabSz="829544">
                <a:buClr>
                  <a:srgbClr val="000000"/>
                </a:buClr>
              </a:pPr>
              <a:r>
                <a:rPr lang="en-IN" sz="1452" b="1" kern="0" dirty="0">
                  <a:solidFill>
                    <a:srgbClr val="000000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Dashboard creation </a:t>
              </a:r>
              <a:r>
                <a:rPr lang="en-IN" sz="1452" kern="0" dirty="0">
                  <a:solidFill>
                    <a:srgbClr val="000000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reflecting the HR Team’s needs</a:t>
              </a:r>
              <a:endParaRPr sz="1452" kern="0" dirty="0">
                <a:solidFill>
                  <a:srgbClr val="000000"/>
                </a:solidFill>
                <a:latin typeface="Calibri" panose="020F0502020204030204"/>
                <a:cs typeface="Arial"/>
                <a:sym typeface="Arial"/>
              </a:endParaRPr>
            </a:p>
          </p:txBody>
        </p: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D5C9D8CD-08C0-6C33-0825-5A615165193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49498" y="4489546"/>
              <a:ext cx="548640" cy="548640"/>
              <a:chOff x="4887648" y="5202916"/>
              <a:chExt cx="503992" cy="503992"/>
            </a:xfrm>
          </p:grpSpPr>
          <p:sp>
            <p:nvSpPr>
              <p:cNvPr id="61" name="Google Shape;557;p30">
                <a:extLst>
                  <a:ext uri="{FF2B5EF4-FFF2-40B4-BE49-F238E27FC236}">
                    <a16:creationId xmlns:a16="http://schemas.microsoft.com/office/drawing/2014/main" id="{E65C1931-357A-5C4E-2EAF-CDA16EB9A04B}"/>
                  </a:ext>
                </a:extLst>
              </p:cNvPr>
              <p:cNvSpPr/>
              <p:nvPr/>
            </p:nvSpPr>
            <p:spPr>
              <a:xfrm>
                <a:off x="4887648" y="5202916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4" tIns="45698" rIns="91424" bIns="45698" anchor="ctr" anchorCtr="0">
                <a:noAutofit/>
              </a:bodyPr>
              <a:lstStyle/>
              <a:p>
                <a:pPr algn="ctr" defTabSz="829544">
                  <a:buClr>
                    <a:srgbClr val="000000"/>
                  </a:buClr>
                </a:pPr>
                <a:endParaRPr sz="1633" kern="0" dirty="0">
                  <a:solidFill>
                    <a:srgbClr val="FFFFFF"/>
                  </a:solidFill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95" name="Graphic 94">
                <a:extLst>
                  <a:ext uri="{FF2B5EF4-FFF2-40B4-BE49-F238E27FC236}">
                    <a16:creationId xmlns:a16="http://schemas.microsoft.com/office/drawing/2014/main" id="{C91E8C00-1FC6-FF18-A77E-5E57804EC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999772" y="5321545"/>
                <a:ext cx="279745" cy="266734"/>
              </a:xfrm>
              <a:prstGeom prst="rect">
                <a:avLst/>
              </a:prstGeom>
            </p:spPr>
          </p:pic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501DFB2-3B68-EA9E-4CBB-4C29544971F1}"/>
              </a:ext>
            </a:extLst>
          </p:cNvPr>
          <p:cNvGrpSpPr/>
          <p:nvPr/>
        </p:nvGrpSpPr>
        <p:grpSpPr>
          <a:xfrm>
            <a:off x="4489978" y="3250573"/>
            <a:ext cx="3234377" cy="654653"/>
            <a:chOff x="4949498" y="3583148"/>
            <a:chExt cx="3565395" cy="721653"/>
          </a:xfrm>
        </p:grpSpPr>
        <p:sp>
          <p:nvSpPr>
            <p:cNvPr id="51" name="Google Shape;574;p30">
              <a:extLst>
                <a:ext uri="{FF2B5EF4-FFF2-40B4-BE49-F238E27FC236}">
                  <a16:creationId xmlns:a16="http://schemas.microsoft.com/office/drawing/2014/main" id="{005CAD1D-944C-12B5-3975-9D7EEFA5C4F9}"/>
                </a:ext>
              </a:extLst>
            </p:cNvPr>
            <p:cNvSpPr txBox="1"/>
            <p:nvPr/>
          </p:nvSpPr>
          <p:spPr>
            <a:xfrm>
              <a:off x="5582954" y="3583149"/>
              <a:ext cx="2931939" cy="7216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defTabSz="829544">
                <a:buClr>
                  <a:srgbClr val="000000"/>
                </a:buClr>
              </a:pPr>
              <a:r>
                <a:rPr lang="en-IN" sz="1452" b="1" kern="0" dirty="0">
                  <a:solidFill>
                    <a:srgbClr val="000000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Data Quality &amp; Consistency problems </a:t>
              </a:r>
              <a:r>
                <a:rPr lang="en-IN" sz="1452" kern="0" dirty="0">
                  <a:solidFill>
                    <a:srgbClr val="000000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between the various Data sources </a:t>
              </a:r>
              <a:endParaRPr sz="1452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5CE5F806-D9B9-A341-7D59-E4F40936772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49498" y="3583148"/>
              <a:ext cx="548640" cy="548640"/>
              <a:chOff x="4887648" y="4398723"/>
              <a:chExt cx="503992" cy="503992"/>
            </a:xfrm>
          </p:grpSpPr>
          <p:sp>
            <p:nvSpPr>
              <p:cNvPr id="60" name="Google Shape;554;p30">
                <a:extLst>
                  <a:ext uri="{FF2B5EF4-FFF2-40B4-BE49-F238E27FC236}">
                    <a16:creationId xmlns:a16="http://schemas.microsoft.com/office/drawing/2014/main" id="{F5D8EFBA-BAC2-A0B0-D5F2-9F27A0F90746}"/>
                  </a:ext>
                </a:extLst>
              </p:cNvPr>
              <p:cNvSpPr/>
              <p:nvPr/>
            </p:nvSpPr>
            <p:spPr>
              <a:xfrm>
                <a:off x="4887648" y="4398723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4" tIns="45698" rIns="91424" bIns="45698" anchor="ctr" anchorCtr="0">
                <a:noAutofit/>
              </a:bodyPr>
              <a:lstStyle/>
              <a:p>
                <a:pPr algn="ctr" defTabSz="829544">
                  <a:buClr>
                    <a:srgbClr val="000000"/>
                  </a:buClr>
                </a:pPr>
                <a:endParaRPr sz="1633" kern="0" dirty="0">
                  <a:solidFill>
                    <a:srgbClr val="FFFFFF"/>
                  </a:solidFill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97" name="Graphic 96">
                <a:extLst>
                  <a:ext uri="{FF2B5EF4-FFF2-40B4-BE49-F238E27FC236}">
                    <a16:creationId xmlns:a16="http://schemas.microsoft.com/office/drawing/2014/main" id="{C186A730-E4A6-3D02-20D9-23701BFAC4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999772" y="4536870"/>
                <a:ext cx="279745" cy="227699"/>
              </a:xfrm>
              <a:prstGeom prst="rect">
                <a:avLst/>
              </a:prstGeom>
            </p:spPr>
          </p:pic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0A3FAE-A731-5EB4-AD10-EF5D09714566}"/>
              </a:ext>
            </a:extLst>
          </p:cNvPr>
          <p:cNvGrpSpPr/>
          <p:nvPr/>
        </p:nvGrpSpPr>
        <p:grpSpPr>
          <a:xfrm>
            <a:off x="729106" y="4559473"/>
            <a:ext cx="3097524" cy="497703"/>
            <a:chOff x="803725" y="4868493"/>
            <a:chExt cx="3414536" cy="548640"/>
          </a:xfrm>
        </p:grpSpPr>
        <p:sp>
          <p:nvSpPr>
            <p:cNvPr id="45" name="Google Shape;562;p30">
              <a:extLst>
                <a:ext uri="{FF2B5EF4-FFF2-40B4-BE49-F238E27FC236}">
                  <a16:creationId xmlns:a16="http://schemas.microsoft.com/office/drawing/2014/main" id="{F17C599E-94BF-773D-C245-38BF2B699897}"/>
                </a:ext>
              </a:extLst>
            </p:cNvPr>
            <p:cNvSpPr txBox="1"/>
            <p:nvPr/>
          </p:nvSpPr>
          <p:spPr>
            <a:xfrm>
              <a:off x="1437182" y="4868493"/>
              <a:ext cx="2781079" cy="4803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defTabSz="829544">
                <a:buClr>
                  <a:srgbClr val="000000"/>
                </a:buClr>
              </a:pPr>
              <a:r>
                <a:rPr lang="en-IN" sz="1452" b="1" kern="0" dirty="0">
                  <a:solidFill>
                    <a:srgbClr val="444444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Smooth integration </a:t>
              </a:r>
              <a:r>
                <a:rPr lang="en-IN" sz="1452" kern="0" dirty="0">
                  <a:solidFill>
                    <a:srgbClr val="444444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with its existing ERPs </a:t>
              </a:r>
              <a:endParaRPr sz="1452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endParaRPr>
            </a:p>
            <a:p>
              <a:pPr defTabSz="829544">
                <a:buClr>
                  <a:srgbClr val="000000"/>
                </a:buClr>
              </a:pPr>
              <a:endParaRPr sz="1452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18960702-537C-1A5E-1878-F36F610892A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3725" y="4868493"/>
              <a:ext cx="548640" cy="548640"/>
              <a:chOff x="698421" y="5202916"/>
              <a:chExt cx="503992" cy="503992"/>
            </a:xfrm>
          </p:grpSpPr>
          <p:sp>
            <p:nvSpPr>
              <p:cNvPr id="40" name="Google Shape;557;p30">
                <a:extLst>
                  <a:ext uri="{FF2B5EF4-FFF2-40B4-BE49-F238E27FC236}">
                    <a16:creationId xmlns:a16="http://schemas.microsoft.com/office/drawing/2014/main" id="{08C8BDB2-E3E5-53B9-2202-C21D6B180F4C}"/>
                  </a:ext>
                </a:extLst>
              </p:cNvPr>
              <p:cNvSpPr/>
              <p:nvPr/>
            </p:nvSpPr>
            <p:spPr>
              <a:xfrm>
                <a:off x="698421" y="5202916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4" tIns="45698" rIns="91424" bIns="45698" anchor="ctr" anchorCtr="0">
                <a:noAutofit/>
              </a:bodyPr>
              <a:lstStyle/>
              <a:p>
                <a:pPr algn="ctr" defTabSz="829544">
                  <a:buClr>
                    <a:srgbClr val="000000"/>
                  </a:buClr>
                </a:pPr>
                <a:endParaRPr sz="1633" kern="0" dirty="0">
                  <a:solidFill>
                    <a:srgbClr val="FFFFFF"/>
                  </a:solidFill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99" name="Graphic 98">
                <a:extLst>
                  <a:ext uri="{FF2B5EF4-FFF2-40B4-BE49-F238E27FC236}">
                    <a16:creationId xmlns:a16="http://schemas.microsoft.com/office/drawing/2014/main" id="{2B846CB2-3518-09A6-9C50-1F21631253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765005" y="5311787"/>
                <a:ext cx="370825" cy="286251"/>
              </a:xfrm>
              <a:prstGeom prst="rect">
                <a:avLst/>
              </a:prstGeom>
            </p:spPr>
          </p:pic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A4C949B-7D34-E301-FC07-64DF823C7192}"/>
              </a:ext>
            </a:extLst>
          </p:cNvPr>
          <p:cNvGrpSpPr/>
          <p:nvPr/>
        </p:nvGrpSpPr>
        <p:grpSpPr>
          <a:xfrm>
            <a:off x="729106" y="5443253"/>
            <a:ext cx="3158438" cy="497703"/>
            <a:chOff x="803725" y="5774197"/>
            <a:chExt cx="3481684" cy="548640"/>
          </a:xfrm>
        </p:grpSpPr>
        <p:sp>
          <p:nvSpPr>
            <p:cNvPr id="43" name="Google Shape;560;p30">
              <a:extLst>
                <a:ext uri="{FF2B5EF4-FFF2-40B4-BE49-F238E27FC236}">
                  <a16:creationId xmlns:a16="http://schemas.microsoft.com/office/drawing/2014/main" id="{F6AB3F0C-0A45-7CB8-2CC6-79CA465D629A}"/>
                </a:ext>
              </a:extLst>
            </p:cNvPr>
            <p:cNvSpPr txBox="1"/>
            <p:nvPr/>
          </p:nvSpPr>
          <p:spPr>
            <a:xfrm>
              <a:off x="1437182" y="5774197"/>
              <a:ext cx="2848227" cy="492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defTabSz="829544">
                <a:buClr>
                  <a:srgbClr val="000000"/>
                </a:buClr>
              </a:pPr>
              <a:r>
                <a:rPr lang="en-IN" sz="1452" b="1" kern="0" dirty="0">
                  <a:solidFill>
                    <a:srgbClr val="444444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Lower cost </a:t>
              </a:r>
              <a:r>
                <a:rPr lang="en-IN" sz="1452" kern="0" dirty="0">
                  <a:solidFill>
                    <a:srgbClr val="444444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than subscribing to a dedicated HR Dashboard tool</a:t>
              </a:r>
              <a:endParaRPr sz="1452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3194FCBF-429F-AB76-68B1-38ED9C61B9B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3725" y="5774197"/>
              <a:ext cx="548640" cy="548640"/>
              <a:chOff x="698421" y="6069599"/>
              <a:chExt cx="503992" cy="503992"/>
            </a:xfrm>
          </p:grpSpPr>
          <p:sp>
            <p:nvSpPr>
              <p:cNvPr id="41" name="Google Shape;558;p30">
                <a:extLst>
                  <a:ext uri="{FF2B5EF4-FFF2-40B4-BE49-F238E27FC236}">
                    <a16:creationId xmlns:a16="http://schemas.microsoft.com/office/drawing/2014/main" id="{A3A4C06D-64B3-1800-FAEE-591C217639B0}"/>
                  </a:ext>
                </a:extLst>
              </p:cNvPr>
              <p:cNvSpPr/>
              <p:nvPr/>
            </p:nvSpPr>
            <p:spPr>
              <a:xfrm>
                <a:off x="698421" y="6069599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4" tIns="45698" rIns="91424" bIns="45698" anchor="ctr" anchorCtr="0">
                <a:noAutofit/>
              </a:bodyPr>
              <a:lstStyle/>
              <a:p>
                <a:pPr algn="ctr" defTabSz="829544">
                  <a:buClr>
                    <a:srgbClr val="000000"/>
                  </a:buClr>
                </a:pPr>
                <a:endParaRPr sz="1633" kern="0" dirty="0">
                  <a:solidFill>
                    <a:srgbClr val="FFFFFF"/>
                  </a:solidFill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101" name="Graphic 100">
                <a:extLst>
                  <a:ext uri="{FF2B5EF4-FFF2-40B4-BE49-F238E27FC236}">
                    <a16:creationId xmlns:a16="http://schemas.microsoft.com/office/drawing/2014/main" id="{861713B8-2C91-3566-DB36-D664C6164E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817050" y="6188228"/>
                <a:ext cx="266734" cy="266734"/>
              </a:xfrm>
              <a:prstGeom prst="rect">
                <a:avLst/>
              </a:prstGeom>
            </p:spPr>
          </p:pic>
        </p:grpSp>
      </p:grpSp>
      <p:sp>
        <p:nvSpPr>
          <p:cNvPr id="44" name="Google Shape;561;p30">
            <a:extLst>
              <a:ext uri="{FF2B5EF4-FFF2-40B4-BE49-F238E27FC236}">
                <a16:creationId xmlns:a16="http://schemas.microsoft.com/office/drawing/2014/main" id="{EE28414E-DAF0-116D-6048-D41825AC3162}"/>
              </a:ext>
            </a:extLst>
          </p:cNvPr>
          <p:cNvSpPr txBox="1"/>
          <p:nvPr/>
        </p:nvSpPr>
        <p:spPr>
          <a:xfrm>
            <a:off x="1303753" y="3804965"/>
            <a:ext cx="2256441" cy="294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829544">
              <a:buClr>
                <a:srgbClr val="000000"/>
              </a:buClr>
            </a:pPr>
            <a:r>
              <a:rPr lang="en-IN" sz="1452" b="1" kern="0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Effective and quick </a:t>
            </a:r>
            <a:r>
              <a:rPr lang="en-IN" sz="1452" kern="0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solution</a:t>
            </a:r>
            <a:endParaRPr sz="1452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8EE21ADA-325A-94C8-296D-3EF276C1764A}"/>
              </a:ext>
            </a:extLst>
          </p:cNvPr>
          <p:cNvGrpSpPr>
            <a:grpSpLocks noChangeAspect="1"/>
          </p:cNvGrpSpPr>
          <p:nvPr/>
        </p:nvGrpSpPr>
        <p:grpSpPr>
          <a:xfrm>
            <a:off x="729106" y="3675693"/>
            <a:ext cx="497703" cy="497703"/>
            <a:chOff x="698421" y="4398723"/>
            <a:chExt cx="503992" cy="503992"/>
          </a:xfrm>
        </p:grpSpPr>
        <p:sp>
          <p:nvSpPr>
            <p:cNvPr id="37" name="Google Shape;554;p30">
              <a:extLst>
                <a:ext uri="{FF2B5EF4-FFF2-40B4-BE49-F238E27FC236}">
                  <a16:creationId xmlns:a16="http://schemas.microsoft.com/office/drawing/2014/main" id="{FCBFFA69-84A9-CECE-97E3-28F72178A9EA}"/>
                </a:ext>
              </a:extLst>
            </p:cNvPr>
            <p:cNvSpPr/>
            <p:nvPr/>
          </p:nvSpPr>
          <p:spPr>
            <a:xfrm>
              <a:off x="698421" y="4398723"/>
              <a:ext cx="503992" cy="503992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4" tIns="45698" rIns="91424" bIns="45698" anchor="ctr" anchorCtr="0">
              <a:noAutofit/>
            </a:bodyPr>
            <a:lstStyle/>
            <a:p>
              <a:pPr algn="ctr" defTabSz="829544">
                <a:buClr>
                  <a:srgbClr val="000000"/>
                </a:buClr>
              </a:pPr>
              <a:endParaRPr sz="1452" kern="0" dirty="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3" name="Graphic 102">
              <a:extLst>
                <a:ext uri="{FF2B5EF4-FFF2-40B4-BE49-F238E27FC236}">
                  <a16:creationId xmlns:a16="http://schemas.microsoft.com/office/drawing/2014/main" id="{5DA3718F-BE7E-2FEA-0CEB-B4ECCB9EC3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781269" y="4530364"/>
              <a:ext cx="338296" cy="240711"/>
            </a:xfrm>
            <a:prstGeom prst="rect">
              <a:avLst/>
            </a:prstGeom>
          </p:spPr>
        </p:pic>
      </p:grpSp>
      <p:pic>
        <p:nvPicPr>
          <p:cNvPr id="116" name="Google Shape;547;p30">
            <a:extLst>
              <a:ext uri="{FF2B5EF4-FFF2-40B4-BE49-F238E27FC236}">
                <a16:creationId xmlns:a16="http://schemas.microsoft.com/office/drawing/2014/main" id="{71BF1012-F562-90B3-126D-8CB47F3AFEF8}"/>
              </a:ext>
            </a:extLst>
          </p:cNvPr>
          <p:cNvPicPr preferRelativeResize="0"/>
          <p:nvPr/>
        </p:nvPicPr>
        <p:blipFill rotWithShape="1">
          <a:blip r:embed="rId20" cstate="print">
            <a:alphaModFix/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9711" y="615062"/>
            <a:ext cx="861050" cy="7775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E057D48-6CA1-C67D-FD7D-651F4C6279F7}"/>
              </a:ext>
            </a:extLst>
          </p:cNvPr>
          <p:cNvCxnSpPr/>
          <p:nvPr/>
        </p:nvCxnSpPr>
        <p:spPr>
          <a:xfrm>
            <a:off x="694094" y="4366434"/>
            <a:ext cx="3266145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F99A381-243E-3200-0522-B589542C5E01}"/>
              </a:ext>
            </a:extLst>
          </p:cNvPr>
          <p:cNvCxnSpPr/>
          <p:nvPr/>
        </p:nvCxnSpPr>
        <p:spPr>
          <a:xfrm>
            <a:off x="694094" y="5250215"/>
            <a:ext cx="3266145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9276BC4-0214-704E-B96D-6B334494BC01}"/>
              </a:ext>
            </a:extLst>
          </p:cNvPr>
          <p:cNvCxnSpPr/>
          <p:nvPr/>
        </p:nvCxnSpPr>
        <p:spPr>
          <a:xfrm>
            <a:off x="4457167" y="5040026"/>
            <a:ext cx="3266145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C3D0721-1BE2-9BD0-9FCA-E2769BDC7A9E}"/>
              </a:ext>
            </a:extLst>
          </p:cNvPr>
          <p:cNvCxnSpPr/>
          <p:nvPr/>
        </p:nvCxnSpPr>
        <p:spPr>
          <a:xfrm>
            <a:off x="4457167" y="4115339"/>
            <a:ext cx="3266145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32016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D72BD3-27D1-23DF-4D1B-D34189B216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3662716"/>
              </p:ext>
            </p:extLst>
          </p:nvPr>
        </p:nvGraphicFramePr>
        <p:xfrm>
          <a:off x="1441" y="153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D72BD3-27D1-23DF-4D1B-D34189B21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41" y="153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B57C5740-D9F2-529E-E633-838C218E6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664"/>
            <a:ext cx="11089972" cy="886350"/>
          </a:xfrm>
        </p:spPr>
        <p:txBody>
          <a:bodyPr vert="horz"/>
          <a:lstStyle/>
          <a:p>
            <a:r>
              <a:rPr lang="en-US" dirty="0"/>
              <a:t>A Comprehensive Dashboard of HR Key Metrics </a:t>
            </a:r>
            <a:br>
              <a:rPr lang="en-US" dirty="0"/>
            </a:br>
            <a:r>
              <a:rPr lang="en-US" dirty="0"/>
              <a:t>and Performance Indicators</a:t>
            </a:r>
          </a:p>
        </p:txBody>
      </p:sp>
      <p:sp>
        <p:nvSpPr>
          <p:cNvPr id="6" name="Google Shape;831;p25">
            <a:extLst>
              <a:ext uri="{FF2B5EF4-FFF2-40B4-BE49-F238E27FC236}">
                <a16:creationId xmlns:a16="http://schemas.microsoft.com/office/drawing/2014/main" id="{DF51A008-F12C-0677-55B5-051BFF4D4919}"/>
              </a:ext>
            </a:extLst>
          </p:cNvPr>
          <p:cNvSpPr>
            <a:spLocks/>
          </p:cNvSpPr>
          <p:nvPr/>
        </p:nvSpPr>
        <p:spPr>
          <a:xfrm>
            <a:off x="499720" y="2096784"/>
            <a:ext cx="4899266" cy="4238366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30631" tIns="163288" rIns="130631" bIns="163288" anchor="t" anchorCtr="0">
            <a:noAutofit/>
          </a:bodyPr>
          <a:lstStyle/>
          <a:p>
            <a:pPr algn="ctr" defTabSz="829544">
              <a:lnSpc>
                <a:spcPct val="130769"/>
              </a:lnSpc>
              <a:buClr>
                <a:srgbClr val="00B9FF"/>
              </a:buClr>
              <a:buSzPts val="1300"/>
            </a:pPr>
            <a:endParaRPr lang="en-US" sz="127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Google Shape;543;p30">
            <a:extLst>
              <a:ext uri="{FF2B5EF4-FFF2-40B4-BE49-F238E27FC236}">
                <a16:creationId xmlns:a16="http://schemas.microsoft.com/office/drawing/2014/main" id="{1AA03FB6-81D1-3F60-5047-0AAA00E63192}"/>
              </a:ext>
            </a:extLst>
          </p:cNvPr>
          <p:cNvSpPr txBox="1">
            <a:spLocks/>
          </p:cNvSpPr>
          <p:nvPr/>
        </p:nvSpPr>
        <p:spPr>
          <a:xfrm>
            <a:off x="735482" y="2519249"/>
            <a:ext cx="4422559" cy="3693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57613" indent="-157613" defTabSz="829544">
              <a:buClr>
                <a:srgbClr val="0F47F2"/>
              </a:buClr>
              <a:buSzPts val="1800"/>
              <a:buFont typeface="Wingdings" panose="05000000000000000000" pitchFamily="2" charset="2"/>
              <a:buChar char="§"/>
            </a:pPr>
            <a:r>
              <a:rPr lang="en-US" sz="1600" b="1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Elaborated Data Model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: Gathering and transforming data from </a:t>
            </a:r>
            <a:r>
              <a:rPr lang="en-US" sz="1600" b="1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5 different tools</a:t>
            </a:r>
          </a:p>
          <a:p>
            <a:pPr marL="157613" indent="-157613" defTabSz="829544">
              <a:buClr>
                <a:srgbClr val="0F47F2"/>
              </a:buClr>
              <a:buSzPts val="1800"/>
              <a:buFont typeface="Wingdings" panose="05000000000000000000" pitchFamily="2" charset="2"/>
              <a:buChar char="§"/>
            </a:pPr>
            <a:endParaRPr lang="en-US" sz="1600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57613" indent="-157613" defTabSz="829544">
              <a:buClr>
                <a:srgbClr val="0F47F2"/>
              </a:buClr>
              <a:buSzPts val="1800"/>
              <a:buFont typeface="Wingdings" panose="05000000000000000000" pitchFamily="2" charset="2"/>
              <a:buChar char="§"/>
            </a:pPr>
            <a:r>
              <a:rPr lang="en-US" sz="1600" b="1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Automated Source Reports: 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Created </a:t>
            </a:r>
            <a:r>
              <a:rPr lang="en-US" sz="1600" b="1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14 source reports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 and automated their extractions using APIs, ensuring efficient and timely data retrieval.</a:t>
            </a:r>
          </a:p>
          <a:p>
            <a:pPr marL="157613" indent="-157613" defTabSz="829544">
              <a:buClr>
                <a:srgbClr val="0F47F2"/>
              </a:buClr>
              <a:buSzPts val="1800"/>
              <a:buFont typeface="Wingdings" panose="05000000000000000000" pitchFamily="2" charset="2"/>
              <a:buChar char="§"/>
            </a:pPr>
            <a:endParaRPr lang="en-US" sz="1600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57613" indent="-157613" defTabSz="829544">
              <a:buClr>
                <a:srgbClr val="0F47F2"/>
              </a:buClr>
              <a:buSzPts val="1800"/>
              <a:buFont typeface="Wingdings" panose="05000000000000000000" pitchFamily="2" charset="2"/>
              <a:buChar char="§"/>
            </a:pPr>
            <a:r>
              <a:rPr lang="en-US" sz="1600" b="1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Automated Data Quality Checks: 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Implemented automated data quality checks based on predefined business rules, ensuring data integrity and accuracy.</a:t>
            </a:r>
          </a:p>
          <a:p>
            <a:pPr marL="157613" indent="-157613" defTabSz="829544">
              <a:buClr>
                <a:srgbClr val="0F47F2"/>
              </a:buClr>
              <a:buSzPts val="1800"/>
              <a:buFont typeface="Wingdings" panose="05000000000000000000" pitchFamily="2" charset="2"/>
              <a:buChar char="§"/>
            </a:pPr>
            <a:endParaRPr lang="en-US" sz="1600" b="1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57613" indent="-157613" defTabSz="829544">
              <a:buClr>
                <a:srgbClr val="0F47F2"/>
              </a:buClr>
              <a:buSzPts val="1800"/>
              <a:buFont typeface="Wingdings" panose="05000000000000000000" pitchFamily="2" charset="2"/>
              <a:buChar char="§"/>
            </a:pPr>
            <a:r>
              <a:rPr lang="en-US" sz="1600" b="1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Extensive Dashboards: 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Delivered a comprehensive report comprising </a:t>
            </a:r>
            <a:r>
              <a:rPr lang="en-US" sz="1600" b="1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30 dashboards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, featuring </a:t>
            </a:r>
            <a:r>
              <a:rPr lang="en-US" sz="1600" b="1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+150 graphs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, and including</a:t>
            </a:r>
            <a:r>
              <a:rPr lang="en-US" sz="1600" b="1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 +50 KPIs.</a:t>
            </a:r>
            <a:endParaRPr lang="en-US" sz="1600" kern="0" dirty="0">
              <a:solidFill>
                <a:srgbClr val="000000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8" name="Google Shape;545;p30">
            <a:extLst>
              <a:ext uri="{FF2B5EF4-FFF2-40B4-BE49-F238E27FC236}">
                <a16:creationId xmlns:a16="http://schemas.microsoft.com/office/drawing/2014/main" id="{DA30D5BD-3BC1-D6C1-5FDA-0096CD1AB3FB}"/>
              </a:ext>
            </a:extLst>
          </p:cNvPr>
          <p:cNvSpPr>
            <a:spLocks/>
          </p:cNvSpPr>
          <p:nvPr/>
        </p:nvSpPr>
        <p:spPr>
          <a:xfrm>
            <a:off x="499720" y="1685023"/>
            <a:ext cx="4899266" cy="716872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algn="ctr" defTabSz="829544">
              <a:buClr>
                <a:srgbClr val="000000"/>
              </a:buClr>
            </a:pPr>
            <a:endParaRPr sz="1401" kern="0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Google Shape;546;p30">
            <a:extLst>
              <a:ext uri="{FF2B5EF4-FFF2-40B4-BE49-F238E27FC236}">
                <a16:creationId xmlns:a16="http://schemas.microsoft.com/office/drawing/2014/main" id="{CDCBBF56-C6F3-B3F6-8FA8-F22C59E01E2A}"/>
              </a:ext>
            </a:extLst>
          </p:cNvPr>
          <p:cNvSpPr txBox="1"/>
          <p:nvPr/>
        </p:nvSpPr>
        <p:spPr>
          <a:xfrm>
            <a:off x="1840578" y="1901065"/>
            <a:ext cx="2217549" cy="284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829544">
              <a:lnSpc>
                <a:spcPct val="85000"/>
              </a:lnSpc>
              <a:buClr>
                <a:srgbClr val="000000"/>
              </a:buClr>
            </a:pPr>
            <a:r>
              <a:rPr lang="en-IN" sz="2177" b="1" kern="0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Achievement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D503B8E-8315-CE23-B611-C247BE394B5A}"/>
              </a:ext>
            </a:extLst>
          </p:cNvPr>
          <p:cNvGrpSpPr/>
          <p:nvPr/>
        </p:nvGrpSpPr>
        <p:grpSpPr>
          <a:xfrm>
            <a:off x="4721166" y="1746794"/>
            <a:ext cx="592190" cy="593331"/>
            <a:chOff x="3820712" y="1925467"/>
            <a:chExt cx="652797" cy="654055"/>
          </a:xfrm>
        </p:grpSpPr>
        <p:sp>
          <p:nvSpPr>
            <p:cNvPr id="11" name="Google Shape;551;p30">
              <a:extLst>
                <a:ext uri="{FF2B5EF4-FFF2-40B4-BE49-F238E27FC236}">
                  <a16:creationId xmlns:a16="http://schemas.microsoft.com/office/drawing/2014/main" id="{799A6D36-71AC-C5FB-0425-360F77A7AE38}"/>
                </a:ext>
              </a:extLst>
            </p:cNvPr>
            <p:cNvSpPr/>
            <p:nvPr/>
          </p:nvSpPr>
          <p:spPr>
            <a:xfrm>
              <a:off x="3820712" y="1925467"/>
              <a:ext cx="652797" cy="654055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4" tIns="45698" rIns="91424" bIns="45698" anchor="ctr" anchorCtr="0">
              <a:noAutofit/>
            </a:bodyPr>
            <a:lstStyle/>
            <a:p>
              <a:pPr algn="ctr" defTabSz="829544">
                <a:buClr>
                  <a:srgbClr val="000000"/>
                </a:buClr>
              </a:pPr>
              <a:endParaRPr sz="1401" kern="0" dirty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8ED4122A-104A-016B-544D-64B62B6C74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51848" y="2076282"/>
              <a:ext cx="390525" cy="352425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B4FCECD-D037-7681-DD29-5371513E7900}"/>
              </a:ext>
            </a:extLst>
          </p:cNvPr>
          <p:cNvGrpSpPr/>
          <p:nvPr/>
        </p:nvGrpSpPr>
        <p:grpSpPr>
          <a:xfrm>
            <a:off x="7693075" y="2022997"/>
            <a:ext cx="3966657" cy="3041065"/>
            <a:chOff x="4662343" y="2693866"/>
            <a:chExt cx="4610513" cy="3534681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1CA48A9-DC65-7829-9D17-DB9E5B18D641}"/>
                </a:ext>
              </a:extLst>
            </p:cNvPr>
            <p:cNvSpPr/>
            <p:nvPr/>
          </p:nvSpPr>
          <p:spPr>
            <a:xfrm>
              <a:off x="4662343" y="2693866"/>
              <a:ext cx="4610513" cy="2788869"/>
            </a:xfrm>
            <a:custGeom>
              <a:avLst/>
              <a:gdLst>
                <a:gd name="connsiteX0" fmla="*/ 129502 w 4610513"/>
                <a:gd name="connsiteY0" fmla="*/ 0 h 2788869"/>
                <a:gd name="connsiteX1" fmla="*/ 4481011 w 4610513"/>
                <a:gd name="connsiteY1" fmla="*/ 0 h 2788869"/>
                <a:gd name="connsiteX2" fmla="*/ 4610514 w 4610513"/>
                <a:gd name="connsiteY2" fmla="*/ 129502 h 2788869"/>
                <a:gd name="connsiteX3" fmla="*/ 4610514 w 4610513"/>
                <a:gd name="connsiteY3" fmla="*/ 2659367 h 2788869"/>
                <a:gd name="connsiteX4" fmla="*/ 4481011 w 4610513"/>
                <a:gd name="connsiteY4" fmla="*/ 2788870 h 2788869"/>
                <a:gd name="connsiteX5" fmla="*/ 129502 w 4610513"/>
                <a:gd name="connsiteY5" fmla="*/ 2788870 h 2788869"/>
                <a:gd name="connsiteX6" fmla="*/ 0 w 4610513"/>
                <a:gd name="connsiteY6" fmla="*/ 2659367 h 2788869"/>
                <a:gd name="connsiteX7" fmla="*/ 0 w 4610513"/>
                <a:gd name="connsiteY7" fmla="*/ 129502 h 2788869"/>
                <a:gd name="connsiteX8" fmla="*/ 129502 w 4610513"/>
                <a:gd name="connsiteY8" fmla="*/ 0 h 278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10513" h="2788869">
                  <a:moveTo>
                    <a:pt x="129502" y="0"/>
                  </a:moveTo>
                  <a:lnTo>
                    <a:pt x="4481011" y="0"/>
                  </a:lnTo>
                  <a:cubicBezTo>
                    <a:pt x="4552494" y="0"/>
                    <a:pt x="4610514" y="58020"/>
                    <a:pt x="4610514" y="129502"/>
                  </a:cubicBezTo>
                  <a:lnTo>
                    <a:pt x="4610514" y="2659367"/>
                  </a:lnTo>
                  <a:cubicBezTo>
                    <a:pt x="4610514" y="2730850"/>
                    <a:pt x="4552467" y="2788870"/>
                    <a:pt x="4481011" y="2788870"/>
                  </a:cubicBezTo>
                  <a:lnTo>
                    <a:pt x="129502" y="2788870"/>
                  </a:lnTo>
                  <a:cubicBezTo>
                    <a:pt x="58020" y="2788870"/>
                    <a:pt x="0" y="2730850"/>
                    <a:pt x="0" y="2659367"/>
                  </a:cubicBezTo>
                  <a:lnTo>
                    <a:pt x="0" y="129502"/>
                  </a:lnTo>
                  <a:cubicBezTo>
                    <a:pt x="0" y="58020"/>
                    <a:pt x="58020" y="0"/>
                    <a:pt x="129502" y="0"/>
                  </a:cubicBezTo>
                  <a:close/>
                </a:path>
              </a:pathLst>
            </a:custGeom>
            <a:solidFill>
              <a:srgbClr val="000000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829544">
                <a:buClr>
                  <a:srgbClr val="000000"/>
                </a:buClr>
              </a:pPr>
              <a:endParaRPr lang="en-US" sz="127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21" name="Graphic 2">
              <a:extLst>
                <a:ext uri="{FF2B5EF4-FFF2-40B4-BE49-F238E27FC236}">
                  <a16:creationId xmlns:a16="http://schemas.microsoft.com/office/drawing/2014/main" id="{E1C038F1-C6E7-341F-8B96-D47DAD7793CA}"/>
                </a:ext>
              </a:extLst>
            </p:cNvPr>
            <p:cNvGrpSpPr/>
            <p:nvPr/>
          </p:nvGrpSpPr>
          <p:grpSpPr>
            <a:xfrm>
              <a:off x="6249770" y="5482791"/>
              <a:ext cx="1435672" cy="745756"/>
              <a:chOff x="6249770" y="5482791"/>
              <a:chExt cx="1435672" cy="745756"/>
            </a:xfrm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91829ACB-BFA9-4ACE-C5AA-0ADCAE7222C0}"/>
                  </a:ext>
                </a:extLst>
              </p:cNvPr>
              <p:cNvSpPr/>
              <p:nvPr/>
            </p:nvSpPr>
            <p:spPr>
              <a:xfrm>
                <a:off x="6249770" y="5482791"/>
                <a:ext cx="1435604" cy="744495"/>
              </a:xfrm>
              <a:custGeom>
                <a:avLst/>
                <a:gdLst>
                  <a:gd name="connsiteX0" fmla="*/ 1435605 w 1435604"/>
                  <a:gd name="connsiteY0" fmla="*/ 703449 h 744495"/>
                  <a:gd name="connsiteX1" fmla="*/ 1345422 w 1435604"/>
                  <a:gd name="connsiteY1" fmla="*/ 643619 h 744495"/>
                  <a:gd name="connsiteX2" fmla="*/ 1221897 w 1435604"/>
                  <a:gd name="connsiteY2" fmla="*/ 529828 h 744495"/>
                  <a:gd name="connsiteX3" fmla="*/ 1144464 w 1435604"/>
                  <a:gd name="connsiteY3" fmla="*/ 0 h 744495"/>
                  <a:gd name="connsiteX4" fmla="*/ 291141 w 1435604"/>
                  <a:gd name="connsiteY4" fmla="*/ 0 h 744495"/>
                  <a:gd name="connsiteX5" fmla="*/ 213681 w 1435604"/>
                  <a:gd name="connsiteY5" fmla="*/ 529828 h 744495"/>
                  <a:gd name="connsiteX6" fmla="*/ 90183 w 1435604"/>
                  <a:gd name="connsiteY6" fmla="*/ 643619 h 744495"/>
                  <a:gd name="connsiteX7" fmla="*/ 0 w 1435604"/>
                  <a:gd name="connsiteY7" fmla="*/ 703449 h 744495"/>
                  <a:gd name="connsiteX8" fmla="*/ 0 w 1435604"/>
                  <a:gd name="connsiteY8" fmla="*/ 724781 h 744495"/>
                  <a:gd name="connsiteX9" fmla="*/ 224703 w 1435604"/>
                  <a:gd name="connsiteY9" fmla="*/ 744496 h 744495"/>
                  <a:gd name="connsiteX10" fmla="*/ 1210874 w 1435604"/>
                  <a:gd name="connsiteY10" fmla="*/ 744496 h 744495"/>
                  <a:gd name="connsiteX11" fmla="*/ 1435605 w 1435604"/>
                  <a:gd name="connsiteY11" fmla="*/ 724781 h 744495"/>
                  <a:gd name="connsiteX12" fmla="*/ 1435605 w 1435604"/>
                  <a:gd name="connsiteY12" fmla="*/ 703449 h 744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5604" h="744495">
                    <a:moveTo>
                      <a:pt x="1435605" y="703449"/>
                    </a:moveTo>
                    <a:cubicBezTo>
                      <a:pt x="1435605" y="703449"/>
                      <a:pt x="1425432" y="663526"/>
                      <a:pt x="1345422" y="643619"/>
                    </a:cubicBezTo>
                    <a:cubicBezTo>
                      <a:pt x="1265440" y="623712"/>
                      <a:pt x="1238376" y="600927"/>
                      <a:pt x="1221897" y="529828"/>
                    </a:cubicBezTo>
                    <a:cubicBezTo>
                      <a:pt x="1205445" y="458702"/>
                      <a:pt x="1144464" y="0"/>
                      <a:pt x="1144464" y="0"/>
                    </a:cubicBezTo>
                    <a:lnTo>
                      <a:pt x="291141" y="0"/>
                    </a:lnTo>
                    <a:cubicBezTo>
                      <a:pt x="291141" y="0"/>
                      <a:pt x="230160" y="458702"/>
                      <a:pt x="213681" y="529828"/>
                    </a:cubicBezTo>
                    <a:cubicBezTo>
                      <a:pt x="197229" y="600954"/>
                      <a:pt x="170166" y="623712"/>
                      <a:pt x="90183" y="643619"/>
                    </a:cubicBezTo>
                    <a:cubicBezTo>
                      <a:pt x="10200" y="663526"/>
                      <a:pt x="0" y="703449"/>
                      <a:pt x="0" y="703449"/>
                    </a:cubicBezTo>
                    <a:lnTo>
                      <a:pt x="0" y="724781"/>
                    </a:lnTo>
                    <a:cubicBezTo>
                      <a:pt x="0" y="724781"/>
                      <a:pt x="26542" y="744496"/>
                      <a:pt x="224703" y="744496"/>
                    </a:cubicBezTo>
                    <a:lnTo>
                      <a:pt x="1210874" y="744496"/>
                    </a:lnTo>
                    <a:cubicBezTo>
                      <a:pt x="1409036" y="744496"/>
                      <a:pt x="1435605" y="724781"/>
                      <a:pt x="1435605" y="724781"/>
                    </a:cubicBezTo>
                    <a:lnTo>
                      <a:pt x="1435605" y="703449"/>
                    </a:lnTo>
                    <a:close/>
                  </a:path>
                </a:pathLst>
              </a:custGeom>
              <a:gradFill>
                <a:gsLst>
                  <a:gs pos="0">
                    <a:srgbClr val="F3F4F4"/>
                  </a:gs>
                  <a:gs pos="11000">
                    <a:srgbClr val="CCCDCF"/>
                  </a:gs>
                  <a:gs pos="19000">
                    <a:srgbClr val="B3B5B8"/>
                  </a:gs>
                  <a:gs pos="24000">
                    <a:srgbClr val="ABADB0"/>
                  </a:gs>
                  <a:gs pos="35000">
                    <a:srgbClr val="E6E7E8"/>
                  </a:gs>
                  <a:gs pos="61000">
                    <a:srgbClr val="C7C8CA"/>
                  </a:gs>
                  <a:gs pos="99000">
                    <a:srgbClr val="8A8C8E"/>
                  </a:gs>
                </a:gsLst>
                <a:lin ang="16200000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829544">
                  <a:buClr>
                    <a:srgbClr val="000000"/>
                  </a:buClr>
                </a:pPr>
                <a:endParaRPr lang="en-US" sz="127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05991557-FFE7-D700-AB52-3C082FDB2596}"/>
                  </a:ext>
                </a:extLst>
              </p:cNvPr>
              <p:cNvSpPr/>
              <p:nvPr/>
            </p:nvSpPr>
            <p:spPr>
              <a:xfrm>
                <a:off x="6249804" y="6185444"/>
                <a:ext cx="1435637" cy="43103"/>
              </a:xfrm>
              <a:custGeom>
                <a:avLst/>
                <a:gdLst>
                  <a:gd name="connsiteX0" fmla="*/ 1435269 w 1435637"/>
                  <a:gd name="connsiteY0" fmla="*/ 0 h 43103"/>
                  <a:gd name="connsiteX1" fmla="*/ 1210867 w 1435637"/>
                  <a:gd name="connsiteY1" fmla="*/ 19358 h 43103"/>
                  <a:gd name="connsiteX2" fmla="*/ 224696 w 1435637"/>
                  <a:gd name="connsiteY2" fmla="*/ 19358 h 43103"/>
                  <a:gd name="connsiteX3" fmla="*/ 322 w 1435637"/>
                  <a:gd name="connsiteY3" fmla="*/ 0 h 43103"/>
                  <a:gd name="connsiteX4" fmla="*/ 20 w 1435637"/>
                  <a:gd name="connsiteY4" fmla="*/ 2029 h 43103"/>
                  <a:gd name="connsiteX5" fmla="*/ 20 w 1435637"/>
                  <a:gd name="connsiteY5" fmla="*/ 23389 h 43103"/>
                  <a:gd name="connsiteX6" fmla="*/ 224723 w 1435637"/>
                  <a:gd name="connsiteY6" fmla="*/ 43103 h 43103"/>
                  <a:gd name="connsiteX7" fmla="*/ 1210895 w 1435637"/>
                  <a:gd name="connsiteY7" fmla="*/ 43103 h 43103"/>
                  <a:gd name="connsiteX8" fmla="*/ 1435625 w 1435637"/>
                  <a:gd name="connsiteY8" fmla="*/ 23389 h 43103"/>
                  <a:gd name="connsiteX9" fmla="*/ 1435625 w 1435637"/>
                  <a:gd name="connsiteY9" fmla="*/ 2029 h 43103"/>
                  <a:gd name="connsiteX10" fmla="*/ 1435297 w 1435637"/>
                  <a:gd name="connsiteY10" fmla="*/ 0 h 43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35637" h="43103">
                    <a:moveTo>
                      <a:pt x="1435269" y="0"/>
                    </a:moveTo>
                    <a:cubicBezTo>
                      <a:pt x="1432363" y="2660"/>
                      <a:pt x="1393235" y="19358"/>
                      <a:pt x="1210867" y="19358"/>
                    </a:cubicBezTo>
                    <a:lnTo>
                      <a:pt x="224696" y="19358"/>
                    </a:lnTo>
                    <a:cubicBezTo>
                      <a:pt x="42329" y="19358"/>
                      <a:pt x="3201" y="2660"/>
                      <a:pt x="322" y="0"/>
                    </a:cubicBezTo>
                    <a:cubicBezTo>
                      <a:pt x="-117" y="1316"/>
                      <a:pt x="20" y="2029"/>
                      <a:pt x="20" y="2029"/>
                    </a:cubicBezTo>
                    <a:lnTo>
                      <a:pt x="20" y="23389"/>
                    </a:lnTo>
                    <a:cubicBezTo>
                      <a:pt x="20" y="23389"/>
                      <a:pt x="26563" y="43103"/>
                      <a:pt x="224723" y="43103"/>
                    </a:cubicBezTo>
                    <a:lnTo>
                      <a:pt x="1210895" y="43103"/>
                    </a:lnTo>
                    <a:cubicBezTo>
                      <a:pt x="1409056" y="43103"/>
                      <a:pt x="1435625" y="23389"/>
                      <a:pt x="1435625" y="23389"/>
                    </a:cubicBezTo>
                    <a:lnTo>
                      <a:pt x="1435625" y="2029"/>
                    </a:lnTo>
                    <a:cubicBezTo>
                      <a:pt x="1435625" y="2029"/>
                      <a:pt x="1435735" y="1316"/>
                      <a:pt x="1435297" y="0"/>
                    </a:cubicBezTo>
                    <a:close/>
                  </a:path>
                </a:pathLst>
              </a:custGeom>
              <a:gradFill>
                <a:gsLst>
                  <a:gs pos="19000">
                    <a:srgbClr val="ABADB0"/>
                  </a:gs>
                  <a:gs pos="99000">
                    <a:srgbClr val="8A8C8E"/>
                  </a:gs>
                </a:gsLst>
                <a:lin ang="16799923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829544">
                  <a:buClr>
                    <a:srgbClr val="000000"/>
                  </a:buClr>
                </a:pPr>
                <a:endParaRPr lang="en-US" sz="127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EED0FA5-63ED-7FEB-7F27-0958ADBFD999}"/>
                </a:ext>
              </a:extLst>
            </p:cNvPr>
            <p:cNvSpPr/>
            <p:nvPr/>
          </p:nvSpPr>
          <p:spPr>
            <a:xfrm>
              <a:off x="6946363" y="2746594"/>
              <a:ext cx="42445" cy="42445"/>
            </a:xfrm>
            <a:custGeom>
              <a:avLst/>
              <a:gdLst>
                <a:gd name="connsiteX0" fmla="*/ 42445 w 42445"/>
                <a:gd name="connsiteY0" fmla="*/ 21223 h 42445"/>
                <a:gd name="connsiteX1" fmla="*/ 21250 w 42445"/>
                <a:gd name="connsiteY1" fmla="*/ 42445 h 42445"/>
                <a:gd name="connsiteX2" fmla="*/ 0 w 42445"/>
                <a:gd name="connsiteY2" fmla="*/ 21223 h 42445"/>
                <a:gd name="connsiteX3" fmla="*/ 21250 w 42445"/>
                <a:gd name="connsiteY3" fmla="*/ 0 h 42445"/>
                <a:gd name="connsiteX4" fmla="*/ 42445 w 42445"/>
                <a:gd name="connsiteY4" fmla="*/ 21223 h 4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45" h="42445">
                  <a:moveTo>
                    <a:pt x="42445" y="21223"/>
                  </a:moveTo>
                  <a:cubicBezTo>
                    <a:pt x="42445" y="32958"/>
                    <a:pt x="32958" y="42445"/>
                    <a:pt x="21250" y="42445"/>
                  </a:cubicBezTo>
                  <a:cubicBezTo>
                    <a:pt x="9542" y="42445"/>
                    <a:pt x="0" y="32958"/>
                    <a:pt x="0" y="21223"/>
                  </a:cubicBezTo>
                  <a:cubicBezTo>
                    <a:pt x="0" y="9487"/>
                    <a:pt x="9488" y="0"/>
                    <a:pt x="21250" y="0"/>
                  </a:cubicBezTo>
                  <a:cubicBezTo>
                    <a:pt x="33013" y="0"/>
                    <a:pt x="42445" y="9515"/>
                    <a:pt x="42445" y="21223"/>
                  </a:cubicBezTo>
                  <a:close/>
                </a:path>
              </a:pathLst>
            </a:custGeom>
            <a:solidFill>
              <a:srgbClr val="424143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829544">
                <a:buClr>
                  <a:srgbClr val="000000"/>
                </a:buClr>
              </a:pPr>
              <a:endParaRPr lang="en-US" sz="127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cxnSp>
        <p:nvCxnSpPr>
          <p:cNvPr id="26" name="Google Shape;526;p13">
            <a:extLst>
              <a:ext uri="{FF2B5EF4-FFF2-40B4-BE49-F238E27FC236}">
                <a16:creationId xmlns:a16="http://schemas.microsoft.com/office/drawing/2014/main" id="{EF41C1B3-E7C7-47BF-51B4-FAA904E66D34}"/>
              </a:ext>
            </a:extLst>
          </p:cNvPr>
          <p:cNvCxnSpPr>
            <a:cxnSpLocks/>
          </p:cNvCxnSpPr>
          <p:nvPr/>
        </p:nvCxnSpPr>
        <p:spPr>
          <a:xfrm>
            <a:off x="5661087" y="1685023"/>
            <a:ext cx="0" cy="4650127"/>
          </a:xfrm>
          <a:prstGeom prst="straightConnector1">
            <a:avLst/>
          </a:prstGeom>
          <a:noFill/>
          <a:ln w="1905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A72C78C-0DCC-72F3-14CC-DD3B5F61595A}"/>
              </a:ext>
            </a:extLst>
          </p:cNvPr>
          <p:cNvGrpSpPr/>
          <p:nvPr/>
        </p:nvGrpSpPr>
        <p:grpSpPr>
          <a:xfrm>
            <a:off x="5483017" y="3832016"/>
            <a:ext cx="356140" cy="356140"/>
            <a:chOff x="550863" y="2496471"/>
            <a:chExt cx="360000" cy="360000"/>
          </a:xfrm>
        </p:grpSpPr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C93C8EBF-2AAB-8769-6D11-83D378CCEC29}"/>
                </a:ext>
              </a:extLst>
            </p:cNvPr>
            <p:cNvSpPr/>
            <p:nvPr/>
          </p:nvSpPr>
          <p:spPr>
            <a:xfrm>
              <a:off x="564471" y="2510079"/>
              <a:ext cx="332784" cy="332784"/>
            </a:xfrm>
            <a:prstGeom prst="ellipse">
              <a:avLst/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29544">
                <a:buClr>
                  <a:srgbClr val="000000"/>
                </a:buClr>
              </a:pPr>
              <a:endParaRPr lang="en-IN" sz="1270" kern="0" dirty="0">
                <a:solidFill>
                  <a:srgbClr val="FFFFFF"/>
                </a:solidFill>
                <a:latin typeface="Calibri" panose="020F0502020204030204"/>
                <a:sym typeface="Arial"/>
              </a:endParaRPr>
            </a:p>
          </p:txBody>
        </p:sp>
        <p:pic>
          <p:nvPicPr>
            <p:cNvPr id="82" name="Graphic 81">
              <a:extLst>
                <a:ext uri="{FF2B5EF4-FFF2-40B4-BE49-F238E27FC236}">
                  <a16:creationId xmlns:a16="http://schemas.microsoft.com/office/drawing/2014/main" id="{6E697729-A8ED-4D2F-F5BC-39F7E09A0D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50863" y="2496471"/>
              <a:ext cx="360000" cy="360000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7C83297E-0D61-BE01-6BA4-80EBA2846B9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28039" y="2154374"/>
            <a:ext cx="3696729" cy="2134419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339D089C-2031-8B3E-B73B-E50E8C9FAE88}"/>
              </a:ext>
            </a:extLst>
          </p:cNvPr>
          <p:cNvGrpSpPr/>
          <p:nvPr/>
        </p:nvGrpSpPr>
        <p:grpSpPr>
          <a:xfrm>
            <a:off x="6121002" y="4174890"/>
            <a:ext cx="3701902" cy="2232105"/>
            <a:chOff x="1329003" y="3864105"/>
            <a:chExt cx="4080768" cy="2460547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11E184B-2CA7-C252-B889-3355CA794405}"/>
                </a:ext>
              </a:extLst>
            </p:cNvPr>
            <p:cNvSpPr/>
            <p:nvPr/>
          </p:nvSpPr>
          <p:spPr>
            <a:xfrm>
              <a:off x="1650498" y="3935972"/>
              <a:ext cx="3437725" cy="2259434"/>
            </a:xfrm>
            <a:custGeom>
              <a:avLst/>
              <a:gdLst>
                <a:gd name="connsiteX0" fmla="*/ 123909 w 3437725"/>
                <a:gd name="connsiteY0" fmla="*/ 2259371 h 2259434"/>
                <a:gd name="connsiteX1" fmla="*/ 0 w 3437725"/>
                <a:gd name="connsiteY1" fmla="*/ 2195620 h 2259434"/>
                <a:gd name="connsiteX2" fmla="*/ 0 w 3437725"/>
                <a:gd name="connsiteY2" fmla="*/ 123909 h 2259434"/>
                <a:gd name="connsiteX3" fmla="*/ 123909 w 3437725"/>
                <a:gd name="connsiteY3" fmla="*/ 0 h 2259434"/>
                <a:gd name="connsiteX4" fmla="*/ 3313817 w 3437725"/>
                <a:gd name="connsiteY4" fmla="*/ 0 h 2259434"/>
                <a:gd name="connsiteX5" fmla="*/ 3437725 w 3437725"/>
                <a:gd name="connsiteY5" fmla="*/ 123909 h 2259434"/>
                <a:gd name="connsiteX6" fmla="*/ 3437725 w 3437725"/>
                <a:gd name="connsiteY6" fmla="*/ 2195620 h 2259434"/>
                <a:gd name="connsiteX7" fmla="*/ 3313817 w 3437725"/>
                <a:gd name="connsiteY7" fmla="*/ 2259371 h 2259434"/>
                <a:gd name="connsiteX8" fmla="*/ 123909 w 3437725"/>
                <a:gd name="connsiteY8" fmla="*/ 2259371 h 225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37725" h="2259434">
                  <a:moveTo>
                    <a:pt x="123909" y="2259371"/>
                  </a:moveTo>
                  <a:cubicBezTo>
                    <a:pt x="55579" y="2259371"/>
                    <a:pt x="0" y="2263950"/>
                    <a:pt x="0" y="2195620"/>
                  </a:cubicBezTo>
                  <a:lnTo>
                    <a:pt x="0" y="123909"/>
                  </a:lnTo>
                  <a:cubicBezTo>
                    <a:pt x="0" y="55579"/>
                    <a:pt x="55579" y="0"/>
                    <a:pt x="123909" y="0"/>
                  </a:cubicBezTo>
                  <a:lnTo>
                    <a:pt x="3313817" y="0"/>
                  </a:lnTo>
                  <a:cubicBezTo>
                    <a:pt x="3382146" y="0"/>
                    <a:pt x="3437725" y="55579"/>
                    <a:pt x="3437725" y="123909"/>
                  </a:cubicBezTo>
                  <a:lnTo>
                    <a:pt x="3437725" y="2195620"/>
                  </a:lnTo>
                  <a:cubicBezTo>
                    <a:pt x="3437725" y="2263950"/>
                    <a:pt x="3382146" y="2259371"/>
                    <a:pt x="3313817" y="2259371"/>
                  </a:cubicBezTo>
                  <a:lnTo>
                    <a:pt x="123909" y="2259371"/>
                  </a:lnTo>
                  <a:close/>
                </a:path>
              </a:pathLst>
            </a:custGeom>
            <a:gradFill>
              <a:gsLst>
                <a:gs pos="0">
                  <a:srgbClr val="E6E6E6"/>
                </a:gs>
                <a:gs pos="36000">
                  <a:srgbClr val="4D4D4D"/>
                </a:gs>
                <a:gs pos="56000">
                  <a:srgbClr val="CCCCCC"/>
                </a:gs>
                <a:gs pos="76000">
                  <a:srgbClr val="575757"/>
                </a:gs>
                <a:gs pos="100000">
                  <a:srgbClr val="919191"/>
                </a:gs>
              </a:gsLst>
              <a:lin ang="0" scaled="1"/>
            </a:gra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829544">
                <a:buClr>
                  <a:srgbClr val="000000"/>
                </a:buClr>
              </a:pPr>
              <a:endParaRPr lang="en-US" sz="127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E20A7A5-7BE5-F3F1-340E-A38B1000EB9C}"/>
                </a:ext>
              </a:extLst>
            </p:cNvPr>
            <p:cNvSpPr/>
            <p:nvPr/>
          </p:nvSpPr>
          <p:spPr>
            <a:xfrm>
              <a:off x="1650498" y="3935972"/>
              <a:ext cx="3437725" cy="2259434"/>
            </a:xfrm>
            <a:custGeom>
              <a:avLst/>
              <a:gdLst>
                <a:gd name="connsiteX0" fmla="*/ 123909 w 3437725"/>
                <a:gd name="connsiteY0" fmla="*/ 2259371 h 2259434"/>
                <a:gd name="connsiteX1" fmla="*/ 0 w 3437725"/>
                <a:gd name="connsiteY1" fmla="*/ 2195620 h 2259434"/>
                <a:gd name="connsiteX2" fmla="*/ 0 w 3437725"/>
                <a:gd name="connsiteY2" fmla="*/ 123909 h 2259434"/>
                <a:gd name="connsiteX3" fmla="*/ 123909 w 3437725"/>
                <a:gd name="connsiteY3" fmla="*/ 0 h 2259434"/>
                <a:gd name="connsiteX4" fmla="*/ 3313817 w 3437725"/>
                <a:gd name="connsiteY4" fmla="*/ 0 h 2259434"/>
                <a:gd name="connsiteX5" fmla="*/ 3437725 w 3437725"/>
                <a:gd name="connsiteY5" fmla="*/ 123909 h 2259434"/>
                <a:gd name="connsiteX6" fmla="*/ 3437725 w 3437725"/>
                <a:gd name="connsiteY6" fmla="*/ 2195620 h 2259434"/>
                <a:gd name="connsiteX7" fmla="*/ 3313817 w 3437725"/>
                <a:gd name="connsiteY7" fmla="*/ 2259371 h 2259434"/>
                <a:gd name="connsiteX8" fmla="*/ 123909 w 3437725"/>
                <a:gd name="connsiteY8" fmla="*/ 2259371 h 225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37725" h="2259434">
                  <a:moveTo>
                    <a:pt x="123909" y="2259371"/>
                  </a:moveTo>
                  <a:cubicBezTo>
                    <a:pt x="55579" y="2259371"/>
                    <a:pt x="0" y="2263950"/>
                    <a:pt x="0" y="2195620"/>
                  </a:cubicBezTo>
                  <a:lnTo>
                    <a:pt x="0" y="123909"/>
                  </a:lnTo>
                  <a:cubicBezTo>
                    <a:pt x="0" y="55579"/>
                    <a:pt x="55579" y="0"/>
                    <a:pt x="123909" y="0"/>
                  </a:cubicBezTo>
                  <a:lnTo>
                    <a:pt x="3313817" y="0"/>
                  </a:lnTo>
                  <a:cubicBezTo>
                    <a:pt x="3382146" y="0"/>
                    <a:pt x="3437725" y="55579"/>
                    <a:pt x="3437725" y="123909"/>
                  </a:cubicBezTo>
                  <a:lnTo>
                    <a:pt x="3437725" y="2195620"/>
                  </a:lnTo>
                  <a:cubicBezTo>
                    <a:pt x="3437725" y="2263950"/>
                    <a:pt x="3382146" y="2259371"/>
                    <a:pt x="3313817" y="2259371"/>
                  </a:cubicBezTo>
                  <a:lnTo>
                    <a:pt x="123909" y="2259371"/>
                  </a:lnTo>
                  <a:close/>
                </a:path>
              </a:pathLst>
            </a:custGeom>
            <a:solidFill>
              <a:srgbClr val="000000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829544">
                <a:buClr>
                  <a:srgbClr val="000000"/>
                </a:buClr>
              </a:pPr>
              <a:endParaRPr lang="en-US" sz="127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34" name="Graphic 2">
              <a:extLst>
                <a:ext uri="{FF2B5EF4-FFF2-40B4-BE49-F238E27FC236}">
                  <a16:creationId xmlns:a16="http://schemas.microsoft.com/office/drawing/2014/main" id="{41DD724B-9678-85C8-9189-DB7C7C91B8E9}"/>
                </a:ext>
              </a:extLst>
            </p:cNvPr>
            <p:cNvGrpSpPr/>
            <p:nvPr/>
          </p:nvGrpSpPr>
          <p:grpSpPr>
            <a:xfrm>
              <a:off x="1655461" y="3940304"/>
              <a:ext cx="3426565" cy="2251885"/>
              <a:chOff x="1655461" y="3940304"/>
              <a:chExt cx="3426565" cy="2251885"/>
            </a:xfrm>
          </p:grpSpPr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49BC0CFC-40F6-7539-A7EE-0BD3A5188422}"/>
                  </a:ext>
                </a:extLst>
              </p:cNvPr>
              <p:cNvSpPr/>
              <p:nvPr/>
            </p:nvSpPr>
            <p:spPr>
              <a:xfrm>
                <a:off x="1678740" y="3940304"/>
                <a:ext cx="3403286" cy="2228359"/>
              </a:xfrm>
              <a:custGeom>
                <a:avLst/>
                <a:gdLst>
                  <a:gd name="connsiteX0" fmla="*/ 3403286 w 3403286"/>
                  <a:gd name="connsiteY0" fmla="*/ 112749 h 2228359"/>
                  <a:gd name="connsiteX1" fmla="*/ 3290565 w 3403286"/>
                  <a:gd name="connsiteY1" fmla="*/ 0 h 2228359"/>
                  <a:gd name="connsiteX2" fmla="*/ 97723 w 3403286"/>
                  <a:gd name="connsiteY2" fmla="*/ 0 h 2228359"/>
                  <a:gd name="connsiteX3" fmla="*/ 0 w 3403286"/>
                  <a:gd name="connsiteY3" fmla="*/ 56567 h 2228359"/>
                  <a:gd name="connsiteX4" fmla="*/ 89497 w 3403286"/>
                  <a:gd name="connsiteY4" fmla="*/ 12366 h 2228359"/>
                  <a:gd name="connsiteX5" fmla="*/ 3282284 w 3403286"/>
                  <a:gd name="connsiteY5" fmla="*/ 12366 h 2228359"/>
                  <a:gd name="connsiteX6" fmla="*/ 3395033 w 3403286"/>
                  <a:gd name="connsiteY6" fmla="*/ 125115 h 2228359"/>
                  <a:gd name="connsiteX7" fmla="*/ 3395033 w 3403286"/>
                  <a:gd name="connsiteY7" fmla="*/ 2198774 h 2228359"/>
                  <a:gd name="connsiteX8" fmla="*/ 3384312 w 3403286"/>
                  <a:gd name="connsiteY8" fmla="*/ 2228359 h 2228359"/>
                  <a:gd name="connsiteX9" fmla="*/ 3403259 w 3403286"/>
                  <a:gd name="connsiteY9" fmla="*/ 2186407 h 2228359"/>
                  <a:gd name="connsiteX10" fmla="*/ 3403259 w 3403286"/>
                  <a:gd name="connsiteY10" fmla="*/ 112749 h 2228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03286" h="2228359">
                    <a:moveTo>
                      <a:pt x="3403286" y="112749"/>
                    </a:moveTo>
                    <a:cubicBezTo>
                      <a:pt x="3403286" y="50479"/>
                      <a:pt x="3352807" y="0"/>
                      <a:pt x="3290565" y="0"/>
                    </a:cubicBezTo>
                    <a:lnTo>
                      <a:pt x="97723" y="0"/>
                    </a:lnTo>
                    <a:cubicBezTo>
                      <a:pt x="55908" y="0"/>
                      <a:pt x="19468" y="22786"/>
                      <a:pt x="0" y="56567"/>
                    </a:cubicBezTo>
                    <a:cubicBezTo>
                      <a:pt x="20620" y="29695"/>
                      <a:pt x="53029" y="12366"/>
                      <a:pt x="89497" y="12366"/>
                    </a:cubicBezTo>
                    <a:lnTo>
                      <a:pt x="3282284" y="12366"/>
                    </a:lnTo>
                    <a:cubicBezTo>
                      <a:pt x="3344554" y="12366"/>
                      <a:pt x="3395033" y="62846"/>
                      <a:pt x="3395033" y="125115"/>
                    </a:cubicBezTo>
                    <a:lnTo>
                      <a:pt x="3395033" y="2198774"/>
                    </a:lnTo>
                    <a:cubicBezTo>
                      <a:pt x="3395033" y="2219256"/>
                      <a:pt x="3393854" y="2211825"/>
                      <a:pt x="3384312" y="2228359"/>
                    </a:cubicBezTo>
                    <a:cubicBezTo>
                      <a:pt x="3398872" y="2209357"/>
                      <a:pt x="3403259" y="2212182"/>
                      <a:pt x="3403259" y="2186407"/>
                    </a:cubicBezTo>
                    <a:lnTo>
                      <a:pt x="3403259" y="112749"/>
                    </a:lnTo>
                    <a:close/>
                  </a:path>
                </a:pathLst>
              </a:custGeom>
              <a:gradFill>
                <a:gsLst>
                  <a:gs pos="0">
                    <a:srgbClr val="919191"/>
                  </a:gs>
                  <a:gs pos="17000">
                    <a:srgbClr val="979797"/>
                  </a:gs>
                  <a:gs pos="40000">
                    <a:srgbClr val="A9A9A9"/>
                  </a:gs>
                  <a:gs pos="67000">
                    <a:srgbClr val="C7C7C7"/>
                  </a:gs>
                  <a:gs pos="97000">
                    <a:srgbClr val="EFEFEF"/>
                  </a:gs>
                  <a:gs pos="100000">
                    <a:srgbClr val="F5F5F5"/>
                  </a:gs>
                </a:gsLst>
                <a:lin ang="14099989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829544">
                  <a:buClr>
                    <a:srgbClr val="000000"/>
                  </a:buClr>
                </a:pPr>
                <a:endParaRPr lang="en-US" sz="127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3A7EFFAD-ECA3-7C53-1CA6-E7E155D600E1}"/>
                  </a:ext>
                </a:extLst>
              </p:cNvPr>
              <p:cNvSpPr/>
              <p:nvPr/>
            </p:nvSpPr>
            <p:spPr>
              <a:xfrm>
                <a:off x="1655461" y="3996871"/>
                <a:ext cx="3415487" cy="2195318"/>
              </a:xfrm>
              <a:custGeom>
                <a:avLst/>
                <a:gdLst>
                  <a:gd name="connsiteX0" fmla="*/ 3313816 w 3415487"/>
                  <a:gd name="connsiteY0" fmla="*/ 2182404 h 2195318"/>
                  <a:gd name="connsiteX1" fmla="*/ 121002 w 3415487"/>
                  <a:gd name="connsiteY1" fmla="*/ 2182404 h 2195318"/>
                  <a:gd name="connsiteX2" fmla="*/ 8253 w 3415487"/>
                  <a:gd name="connsiteY2" fmla="*/ 2129841 h 2195318"/>
                  <a:gd name="connsiteX3" fmla="*/ 8253 w 3415487"/>
                  <a:gd name="connsiteY3" fmla="*/ 56183 h 2195318"/>
                  <a:gd name="connsiteX4" fmla="*/ 23252 w 3415487"/>
                  <a:gd name="connsiteY4" fmla="*/ 0 h 2195318"/>
                  <a:gd name="connsiteX5" fmla="*/ 0 w 3415487"/>
                  <a:gd name="connsiteY5" fmla="*/ 68549 h 2195318"/>
                  <a:gd name="connsiteX6" fmla="*/ 0 w 3415487"/>
                  <a:gd name="connsiteY6" fmla="*/ 2142207 h 2195318"/>
                  <a:gd name="connsiteX7" fmla="*/ 112749 w 3415487"/>
                  <a:gd name="connsiteY7" fmla="*/ 2194770 h 2195318"/>
                  <a:gd name="connsiteX8" fmla="*/ 3305536 w 3415487"/>
                  <a:gd name="connsiteY8" fmla="*/ 2194770 h 2195318"/>
                  <a:gd name="connsiteX9" fmla="*/ 3415488 w 3415487"/>
                  <a:gd name="connsiteY9" fmla="*/ 2151502 h 2195318"/>
                  <a:gd name="connsiteX10" fmla="*/ 3313789 w 3415487"/>
                  <a:gd name="connsiteY10" fmla="*/ 2182432 h 2195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15487" h="2195318">
                    <a:moveTo>
                      <a:pt x="3313816" y="2182404"/>
                    </a:moveTo>
                    <a:lnTo>
                      <a:pt x="121002" y="2182404"/>
                    </a:lnTo>
                    <a:cubicBezTo>
                      <a:pt x="58733" y="2182404"/>
                      <a:pt x="8253" y="2192111"/>
                      <a:pt x="8253" y="2129841"/>
                    </a:cubicBezTo>
                    <a:lnTo>
                      <a:pt x="8253" y="56183"/>
                    </a:lnTo>
                    <a:cubicBezTo>
                      <a:pt x="8253" y="35728"/>
                      <a:pt x="13737" y="16534"/>
                      <a:pt x="23252" y="0"/>
                    </a:cubicBezTo>
                    <a:cubicBezTo>
                      <a:pt x="8665" y="19002"/>
                      <a:pt x="0" y="42747"/>
                      <a:pt x="0" y="68549"/>
                    </a:cubicBezTo>
                    <a:lnTo>
                      <a:pt x="0" y="2142207"/>
                    </a:lnTo>
                    <a:cubicBezTo>
                      <a:pt x="0" y="2204477"/>
                      <a:pt x="50479" y="2194770"/>
                      <a:pt x="112749" y="2194770"/>
                    </a:cubicBezTo>
                    <a:lnTo>
                      <a:pt x="3305536" y="2194770"/>
                    </a:lnTo>
                    <a:cubicBezTo>
                      <a:pt x="3347350" y="2194770"/>
                      <a:pt x="3396020" y="2185283"/>
                      <a:pt x="3415488" y="2151502"/>
                    </a:cubicBezTo>
                    <a:cubicBezTo>
                      <a:pt x="3394869" y="2178346"/>
                      <a:pt x="3350230" y="2182432"/>
                      <a:pt x="3313789" y="2182432"/>
                    </a:cubicBezTo>
                    <a:close/>
                  </a:path>
                </a:pathLst>
              </a:custGeom>
              <a:gradFill>
                <a:gsLst>
                  <a:gs pos="0">
                    <a:srgbClr val="E6E6E6"/>
                  </a:gs>
                  <a:gs pos="36000">
                    <a:srgbClr val="4D4D4D"/>
                  </a:gs>
                  <a:gs pos="56000">
                    <a:srgbClr val="CCCCCC"/>
                  </a:gs>
                  <a:gs pos="100000">
                    <a:srgbClr val="919191"/>
                  </a:gs>
                </a:gsLst>
                <a:lin ang="14099993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829544">
                  <a:buClr>
                    <a:srgbClr val="000000"/>
                  </a:buClr>
                </a:pPr>
                <a:endParaRPr lang="en-US" sz="127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35" name="Graphic 2">
              <a:extLst>
                <a:ext uri="{FF2B5EF4-FFF2-40B4-BE49-F238E27FC236}">
                  <a16:creationId xmlns:a16="http://schemas.microsoft.com/office/drawing/2014/main" id="{9DA31C6B-87CD-E777-EAB4-8EC1B6E7D60C}"/>
                </a:ext>
              </a:extLst>
            </p:cNvPr>
            <p:cNvGrpSpPr/>
            <p:nvPr/>
          </p:nvGrpSpPr>
          <p:grpSpPr>
            <a:xfrm>
              <a:off x="1672735" y="3864105"/>
              <a:ext cx="3496677" cy="2460547"/>
              <a:chOff x="1672735" y="3864105"/>
              <a:chExt cx="3496677" cy="2460547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1AC99F5F-8725-EA24-43A2-D5E3E01358F1}"/>
                  </a:ext>
                </a:extLst>
              </p:cNvPr>
              <p:cNvSpPr/>
              <p:nvPr/>
            </p:nvSpPr>
            <p:spPr>
              <a:xfrm>
                <a:off x="1672735" y="3961801"/>
                <a:ext cx="3393278" cy="2216967"/>
              </a:xfrm>
              <a:custGeom>
                <a:avLst/>
                <a:gdLst>
                  <a:gd name="connsiteX0" fmla="*/ 90759 w 3393278"/>
                  <a:gd name="connsiteY0" fmla="*/ 2207767 h 2216967"/>
                  <a:gd name="connsiteX1" fmla="*/ 0 w 3393278"/>
                  <a:gd name="connsiteY1" fmla="*/ 2177195 h 2216967"/>
                  <a:gd name="connsiteX2" fmla="*/ 0 w 3393278"/>
                  <a:gd name="connsiteY2" fmla="*/ 90759 h 2216967"/>
                  <a:gd name="connsiteX3" fmla="*/ 90759 w 3393278"/>
                  <a:gd name="connsiteY3" fmla="*/ 0 h 2216967"/>
                  <a:gd name="connsiteX4" fmla="*/ 3302520 w 3393278"/>
                  <a:gd name="connsiteY4" fmla="*/ 0 h 2216967"/>
                  <a:gd name="connsiteX5" fmla="*/ 3393278 w 3393278"/>
                  <a:gd name="connsiteY5" fmla="*/ 90759 h 2216967"/>
                  <a:gd name="connsiteX6" fmla="*/ 3393278 w 3393278"/>
                  <a:gd name="connsiteY6" fmla="*/ 2177195 h 2216967"/>
                  <a:gd name="connsiteX7" fmla="*/ 3302931 w 3393278"/>
                  <a:gd name="connsiteY7" fmla="*/ 2215856 h 2216967"/>
                  <a:gd name="connsiteX8" fmla="*/ 90786 w 3393278"/>
                  <a:gd name="connsiteY8" fmla="*/ 2207794 h 2216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93278" h="2216967">
                    <a:moveTo>
                      <a:pt x="90759" y="2207767"/>
                    </a:moveTo>
                    <a:cubicBezTo>
                      <a:pt x="40718" y="2207767"/>
                      <a:pt x="0" y="2227235"/>
                      <a:pt x="0" y="2177195"/>
                    </a:cubicBezTo>
                    <a:lnTo>
                      <a:pt x="0" y="90759"/>
                    </a:lnTo>
                    <a:cubicBezTo>
                      <a:pt x="0" y="40718"/>
                      <a:pt x="40718" y="0"/>
                      <a:pt x="90759" y="0"/>
                    </a:cubicBezTo>
                    <a:lnTo>
                      <a:pt x="3302520" y="0"/>
                    </a:lnTo>
                    <a:cubicBezTo>
                      <a:pt x="3352560" y="0"/>
                      <a:pt x="3393278" y="40718"/>
                      <a:pt x="3393278" y="90759"/>
                    </a:cubicBezTo>
                    <a:lnTo>
                      <a:pt x="3393278" y="2177195"/>
                    </a:lnTo>
                    <a:cubicBezTo>
                      <a:pt x="3393278" y="2227235"/>
                      <a:pt x="3352971" y="2215856"/>
                      <a:pt x="3302931" y="2215856"/>
                    </a:cubicBezTo>
                    <a:lnTo>
                      <a:pt x="90786" y="2207794"/>
                    </a:lnTo>
                    <a:close/>
                  </a:path>
                </a:pathLst>
              </a:custGeom>
              <a:solidFill>
                <a:srgbClr val="00000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829544">
                  <a:buClr>
                    <a:srgbClr val="000000"/>
                  </a:buClr>
                </a:pPr>
                <a:endParaRPr lang="en-US" sz="127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AEF3E72F-2010-3417-5E0A-56196962FA28}"/>
                  </a:ext>
                </a:extLst>
              </p:cNvPr>
              <p:cNvSpPr/>
              <p:nvPr/>
            </p:nvSpPr>
            <p:spPr>
              <a:xfrm>
                <a:off x="3175134" y="3864105"/>
                <a:ext cx="1994278" cy="2460547"/>
              </a:xfrm>
              <a:custGeom>
                <a:avLst/>
                <a:gdLst>
                  <a:gd name="connsiteX0" fmla="*/ 1809608 w 1994278"/>
                  <a:gd name="connsiteY0" fmla="*/ 0 h 2460547"/>
                  <a:gd name="connsiteX1" fmla="*/ 0 w 1994278"/>
                  <a:gd name="connsiteY1" fmla="*/ 274 h 2460547"/>
                  <a:gd name="connsiteX2" fmla="*/ 701447 w 1994278"/>
                  <a:gd name="connsiteY2" fmla="*/ 2460548 h 2460547"/>
                  <a:gd name="connsiteX3" fmla="*/ 1809608 w 1994278"/>
                  <a:gd name="connsiteY3" fmla="*/ 2460274 h 2460547"/>
                  <a:gd name="connsiteX4" fmla="*/ 1994278 w 1994278"/>
                  <a:gd name="connsiteY4" fmla="*/ 2303105 h 2460547"/>
                  <a:gd name="connsiteX5" fmla="*/ 1994278 w 1994278"/>
                  <a:gd name="connsiteY5" fmla="*/ 157169 h 2460547"/>
                  <a:gd name="connsiteX6" fmla="*/ 1809608 w 1994278"/>
                  <a:gd name="connsiteY6" fmla="*/ 0 h 2460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94278" h="2460547">
                    <a:moveTo>
                      <a:pt x="1809608" y="0"/>
                    </a:moveTo>
                    <a:lnTo>
                      <a:pt x="0" y="274"/>
                    </a:lnTo>
                    <a:lnTo>
                      <a:pt x="701447" y="2460548"/>
                    </a:lnTo>
                    <a:lnTo>
                      <a:pt x="1809608" y="2460274"/>
                    </a:lnTo>
                    <a:cubicBezTo>
                      <a:pt x="1911581" y="2460274"/>
                      <a:pt x="1994278" y="2389888"/>
                      <a:pt x="1994278" y="2303105"/>
                    </a:cubicBezTo>
                    <a:lnTo>
                      <a:pt x="1994278" y="157169"/>
                    </a:lnTo>
                    <a:cubicBezTo>
                      <a:pt x="1994278" y="70358"/>
                      <a:pt x="1911608" y="0"/>
                      <a:pt x="1809608" y="0"/>
                    </a:cubicBezTo>
                    <a:close/>
                  </a:path>
                </a:pathLst>
              </a:custGeom>
              <a:solidFill>
                <a:srgbClr val="FFFFFF">
                  <a:alpha val="5000"/>
                </a:srgbClr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829544">
                  <a:buClr>
                    <a:srgbClr val="000000"/>
                  </a:buClr>
                </a:pPr>
                <a:endParaRPr lang="en-US" sz="127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8176E43-CC77-D0D4-EF32-58FA8854FFB6}"/>
                </a:ext>
              </a:extLst>
            </p:cNvPr>
            <p:cNvSpPr/>
            <p:nvPr/>
          </p:nvSpPr>
          <p:spPr>
            <a:xfrm>
              <a:off x="1672735" y="6067732"/>
              <a:ext cx="3393250" cy="7732"/>
            </a:xfrm>
            <a:custGeom>
              <a:avLst/>
              <a:gdLst>
                <a:gd name="connsiteX0" fmla="*/ 0 w 3393250"/>
                <a:gd name="connsiteY0" fmla="*/ 0 h 7732"/>
                <a:gd name="connsiteX1" fmla="*/ 3393251 w 3393250"/>
                <a:gd name="connsiteY1" fmla="*/ 0 h 7732"/>
                <a:gd name="connsiteX2" fmla="*/ 3393251 w 3393250"/>
                <a:gd name="connsiteY2" fmla="*/ 7732 h 7732"/>
                <a:gd name="connsiteX3" fmla="*/ 0 w 3393250"/>
                <a:gd name="connsiteY3" fmla="*/ 7732 h 7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3250" h="7732">
                  <a:moveTo>
                    <a:pt x="0" y="0"/>
                  </a:moveTo>
                  <a:lnTo>
                    <a:pt x="3393251" y="0"/>
                  </a:lnTo>
                  <a:lnTo>
                    <a:pt x="3393251" y="7732"/>
                  </a:lnTo>
                  <a:lnTo>
                    <a:pt x="0" y="7732"/>
                  </a:lnTo>
                  <a:close/>
                </a:path>
              </a:pathLst>
            </a:custGeom>
            <a:solidFill>
              <a:srgbClr val="404041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829544">
                <a:buClr>
                  <a:srgbClr val="000000"/>
                </a:buClr>
              </a:pPr>
              <a:endParaRPr lang="en-US" sz="127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38" name="Graphic 2">
              <a:extLst>
                <a:ext uri="{FF2B5EF4-FFF2-40B4-BE49-F238E27FC236}">
                  <a16:creationId xmlns:a16="http://schemas.microsoft.com/office/drawing/2014/main" id="{FC314D20-0003-1153-5603-87B8B10E4E5A}"/>
                </a:ext>
              </a:extLst>
            </p:cNvPr>
            <p:cNvGrpSpPr/>
            <p:nvPr/>
          </p:nvGrpSpPr>
          <p:grpSpPr>
            <a:xfrm>
              <a:off x="3355034" y="3982421"/>
              <a:ext cx="28680" cy="28872"/>
              <a:chOff x="3355034" y="3982421"/>
              <a:chExt cx="28680" cy="28872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F1F08CAB-4A43-DB37-04EE-C4BAB5D46800}"/>
                  </a:ext>
                </a:extLst>
              </p:cNvPr>
              <p:cNvSpPr/>
              <p:nvPr/>
            </p:nvSpPr>
            <p:spPr>
              <a:xfrm>
                <a:off x="3355746" y="3983325"/>
                <a:ext cx="27967" cy="27967"/>
              </a:xfrm>
              <a:custGeom>
                <a:avLst/>
                <a:gdLst>
                  <a:gd name="connsiteX0" fmla="*/ 27968 w 27967"/>
                  <a:gd name="connsiteY0" fmla="*/ 13984 h 27967"/>
                  <a:gd name="connsiteX1" fmla="*/ 13984 w 27967"/>
                  <a:gd name="connsiteY1" fmla="*/ 0 h 27967"/>
                  <a:gd name="connsiteX2" fmla="*/ 0 w 27967"/>
                  <a:gd name="connsiteY2" fmla="*/ 13984 h 27967"/>
                  <a:gd name="connsiteX3" fmla="*/ 13984 w 27967"/>
                  <a:gd name="connsiteY3" fmla="*/ 27968 h 27967"/>
                  <a:gd name="connsiteX4" fmla="*/ 27968 w 27967"/>
                  <a:gd name="connsiteY4" fmla="*/ 13984 h 27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967" h="27967">
                    <a:moveTo>
                      <a:pt x="27968" y="13984"/>
                    </a:moveTo>
                    <a:cubicBezTo>
                      <a:pt x="27968" y="6252"/>
                      <a:pt x="21689" y="0"/>
                      <a:pt x="13984" y="0"/>
                    </a:cubicBezTo>
                    <a:cubicBezTo>
                      <a:pt x="6279" y="0"/>
                      <a:pt x="0" y="6279"/>
                      <a:pt x="0" y="13984"/>
                    </a:cubicBezTo>
                    <a:cubicBezTo>
                      <a:pt x="0" y="21689"/>
                      <a:pt x="6252" y="27968"/>
                      <a:pt x="13984" y="27968"/>
                    </a:cubicBezTo>
                    <a:cubicBezTo>
                      <a:pt x="21716" y="27968"/>
                      <a:pt x="27968" y="21689"/>
                      <a:pt x="27968" y="13984"/>
                    </a:cubicBezTo>
                    <a:close/>
                  </a:path>
                </a:pathLst>
              </a:custGeom>
              <a:solidFill>
                <a:srgbClr val="58595B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829544">
                  <a:buClr>
                    <a:srgbClr val="000000"/>
                  </a:buClr>
                </a:pPr>
                <a:endParaRPr lang="en-US" sz="127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A294E142-418B-F895-D319-E06C526E4936}"/>
                  </a:ext>
                </a:extLst>
              </p:cNvPr>
              <p:cNvSpPr/>
              <p:nvPr/>
            </p:nvSpPr>
            <p:spPr>
              <a:xfrm>
                <a:off x="3355034" y="3982421"/>
                <a:ext cx="27967" cy="27967"/>
              </a:xfrm>
              <a:custGeom>
                <a:avLst/>
                <a:gdLst>
                  <a:gd name="connsiteX0" fmla="*/ 27968 w 27967"/>
                  <a:gd name="connsiteY0" fmla="*/ 13984 h 27967"/>
                  <a:gd name="connsiteX1" fmla="*/ 13984 w 27967"/>
                  <a:gd name="connsiteY1" fmla="*/ 27968 h 27967"/>
                  <a:gd name="connsiteX2" fmla="*/ 0 w 27967"/>
                  <a:gd name="connsiteY2" fmla="*/ 13984 h 27967"/>
                  <a:gd name="connsiteX3" fmla="*/ 13984 w 27967"/>
                  <a:gd name="connsiteY3" fmla="*/ 0 h 27967"/>
                  <a:gd name="connsiteX4" fmla="*/ 27968 w 27967"/>
                  <a:gd name="connsiteY4" fmla="*/ 13984 h 27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967" h="27967">
                    <a:moveTo>
                      <a:pt x="27968" y="13984"/>
                    </a:moveTo>
                    <a:cubicBezTo>
                      <a:pt x="27968" y="21707"/>
                      <a:pt x="21707" y="27968"/>
                      <a:pt x="13984" y="27968"/>
                    </a:cubicBezTo>
                    <a:cubicBezTo>
                      <a:pt x="6261" y="27968"/>
                      <a:pt x="0" y="21707"/>
                      <a:pt x="0" y="13984"/>
                    </a:cubicBezTo>
                    <a:cubicBezTo>
                      <a:pt x="0" y="6261"/>
                      <a:pt x="6261" y="0"/>
                      <a:pt x="13984" y="0"/>
                    </a:cubicBezTo>
                    <a:cubicBezTo>
                      <a:pt x="21707" y="0"/>
                      <a:pt x="27968" y="6261"/>
                      <a:pt x="27968" y="13984"/>
                    </a:cubicBezTo>
                    <a:close/>
                  </a:path>
                </a:pathLst>
              </a:custGeom>
              <a:solidFill>
                <a:srgbClr val="8F8F8F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829544">
                  <a:buClr>
                    <a:srgbClr val="000000"/>
                  </a:buClr>
                </a:pPr>
                <a:endParaRPr lang="en-US" sz="127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B5A8FB7-4613-84A2-FA22-16CAF3034AEA}"/>
                  </a:ext>
                </a:extLst>
              </p:cNvPr>
              <p:cNvSpPr/>
              <p:nvPr/>
            </p:nvSpPr>
            <p:spPr>
              <a:xfrm>
                <a:off x="3357035" y="3984422"/>
                <a:ext cx="23964" cy="23964"/>
              </a:xfrm>
              <a:custGeom>
                <a:avLst/>
                <a:gdLst>
                  <a:gd name="connsiteX0" fmla="*/ 23965 w 23964"/>
                  <a:gd name="connsiteY0" fmla="*/ 11982 h 23964"/>
                  <a:gd name="connsiteX1" fmla="*/ 11982 w 23964"/>
                  <a:gd name="connsiteY1" fmla="*/ 23965 h 23964"/>
                  <a:gd name="connsiteX2" fmla="*/ 0 w 23964"/>
                  <a:gd name="connsiteY2" fmla="*/ 11982 h 23964"/>
                  <a:gd name="connsiteX3" fmla="*/ 11982 w 23964"/>
                  <a:gd name="connsiteY3" fmla="*/ 0 h 23964"/>
                  <a:gd name="connsiteX4" fmla="*/ 23965 w 23964"/>
                  <a:gd name="connsiteY4" fmla="*/ 11982 h 23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964" h="23964">
                    <a:moveTo>
                      <a:pt x="23965" y="11982"/>
                    </a:moveTo>
                    <a:cubicBezTo>
                      <a:pt x="23965" y="18600"/>
                      <a:pt x="18600" y="23965"/>
                      <a:pt x="11982" y="23965"/>
                    </a:cubicBezTo>
                    <a:cubicBezTo>
                      <a:pt x="5365" y="23965"/>
                      <a:pt x="0" y="18600"/>
                      <a:pt x="0" y="11982"/>
                    </a:cubicBezTo>
                    <a:cubicBezTo>
                      <a:pt x="0" y="5365"/>
                      <a:pt x="5365" y="0"/>
                      <a:pt x="11982" y="0"/>
                    </a:cubicBezTo>
                    <a:cubicBezTo>
                      <a:pt x="18600" y="0"/>
                      <a:pt x="23965" y="5365"/>
                      <a:pt x="23965" y="11982"/>
                    </a:cubicBezTo>
                    <a:close/>
                  </a:path>
                </a:pathLst>
              </a:custGeom>
              <a:solidFill>
                <a:srgbClr val="231F2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829544">
                  <a:buClr>
                    <a:srgbClr val="000000"/>
                  </a:buClr>
                </a:pPr>
                <a:endParaRPr lang="en-US" sz="127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AF11FFA-584E-154C-35D7-E63B2F5FF438}"/>
                  </a:ext>
                </a:extLst>
              </p:cNvPr>
              <p:cNvSpPr/>
              <p:nvPr/>
            </p:nvSpPr>
            <p:spPr>
              <a:xfrm>
                <a:off x="3360874" y="3988261"/>
                <a:ext cx="16287" cy="16287"/>
              </a:xfrm>
              <a:custGeom>
                <a:avLst/>
                <a:gdLst>
                  <a:gd name="connsiteX0" fmla="*/ 16287 w 16287"/>
                  <a:gd name="connsiteY0" fmla="*/ 8144 h 16287"/>
                  <a:gd name="connsiteX1" fmla="*/ 8144 w 16287"/>
                  <a:gd name="connsiteY1" fmla="*/ 16287 h 16287"/>
                  <a:gd name="connsiteX2" fmla="*/ 0 w 16287"/>
                  <a:gd name="connsiteY2" fmla="*/ 8144 h 16287"/>
                  <a:gd name="connsiteX3" fmla="*/ 8144 w 16287"/>
                  <a:gd name="connsiteY3" fmla="*/ 0 h 16287"/>
                  <a:gd name="connsiteX4" fmla="*/ 16287 w 16287"/>
                  <a:gd name="connsiteY4" fmla="*/ 8144 h 16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87" h="16287">
                    <a:moveTo>
                      <a:pt x="16287" y="8144"/>
                    </a:moveTo>
                    <a:cubicBezTo>
                      <a:pt x="16287" y="12641"/>
                      <a:pt x="12641" y="16287"/>
                      <a:pt x="8144" y="16287"/>
                    </a:cubicBezTo>
                    <a:cubicBezTo>
                      <a:pt x="3646" y="16287"/>
                      <a:pt x="0" y="12641"/>
                      <a:pt x="0" y="8144"/>
                    </a:cubicBezTo>
                    <a:cubicBezTo>
                      <a:pt x="0" y="3646"/>
                      <a:pt x="3646" y="0"/>
                      <a:pt x="8144" y="0"/>
                    </a:cubicBezTo>
                    <a:cubicBezTo>
                      <a:pt x="12641" y="0"/>
                      <a:pt x="16287" y="3646"/>
                      <a:pt x="16287" y="8144"/>
                    </a:cubicBezTo>
                    <a:close/>
                  </a:path>
                </a:pathLst>
              </a:custGeom>
              <a:solidFill>
                <a:srgbClr val="454545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829544">
                  <a:buClr>
                    <a:srgbClr val="000000"/>
                  </a:buClr>
                </a:pPr>
                <a:endParaRPr lang="en-US" sz="127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0F3A871-72D6-11CA-B74D-0B111EE2F821}"/>
                  </a:ext>
                </a:extLst>
              </p:cNvPr>
              <p:cNvSpPr/>
              <p:nvPr/>
            </p:nvSpPr>
            <p:spPr>
              <a:xfrm>
                <a:off x="3366742" y="3994129"/>
                <a:ext cx="4551" cy="4551"/>
              </a:xfrm>
              <a:custGeom>
                <a:avLst/>
                <a:gdLst>
                  <a:gd name="connsiteX0" fmla="*/ 4552 w 4551"/>
                  <a:gd name="connsiteY0" fmla="*/ 2276 h 4551"/>
                  <a:gd name="connsiteX1" fmla="*/ 2276 w 4551"/>
                  <a:gd name="connsiteY1" fmla="*/ 4552 h 4551"/>
                  <a:gd name="connsiteX2" fmla="*/ 0 w 4551"/>
                  <a:gd name="connsiteY2" fmla="*/ 2276 h 4551"/>
                  <a:gd name="connsiteX3" fmla="*/ 2276 w 4551"/>
                  <a:gd name="connsiteY3" fmla="*/ 0 h 4551"/>
                  <a:gd name="connsiteX4" fmla="*/ 4552 w 4551"/>
                  <a:gd name="connsiteY4" fmla="*/ 2276 h 4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51" h="4551">
                    <a:moveTo>
                      <a:pt x="4552" y="2276"/>
                    </a:moveTo>
                    <a:cubicBezTo>
                      <a:pt x="4552" y="3533"/>
                      <a:pt x="3533" y="4552"/>
                      <a:pt x="2276" y="4552"/>
                    </a:cubicBezTo>
                    <a:cubicBezTo>
                      <a:pt x="1019" y="4552"/>
                      <a:pt x="0" y="3533"/>
                      <a:pt x="0" y="2276"/>
                    </a:cubicBezTo>
                    <a:cubicBezTo>
                      <a:pt x="0" y="1019"/>
                      <a:pt x="1019" y="0"/>
                      <a:pt x="2276" y="0"/>
                    </a:cubicBezTo>
                    <a:cubicBezTo>
                      <a:pt x="3533" y="0"/>
                      <a:pt x="4552" y="1019"/>
                      <a:pt x="4552" y="2276"/>
                    </a:cubicBezTo>
                    <a:close/>
                  </a:path>
                </a:pathLst>
              </a:custGeom>
              <a:solidFill>
                <a:srgbClr val="00000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829544">
                  <a:buClr>
                    <a:srgbClr val="000000"/>
                  </a:buClr>
                </a:pPr>
                <a:endParaRPr lang="en-US" sz="127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39" name="Graphic 2">
              <a:extLst>
                <a:ext uri="{FF2B5EF4-FFF2-40B4-BE49-F238E27FC236}">
                  <a16:creationId xmlns:a16="http://schemas.microsoft.com/office/drawing/2014/main" id="{B0335CC3-6E90-9358-DEE2-D09F0E5B224A}"/>
                </a:ext>
              </a:extLst>
            </p:cNvPr>
            <p:cNvGrpSpPr/>
            <p:nvPr/>
          </p:nvGrpSpPr>
          <p:grpSpPr>
            <a:xfrm>
              <a:off x="1329003" y="6140915"/>
              <a:ext cx="4080768" cy="99615"/>
              <a:chOff x="1329003" y="6140915"/>
              <a:chExt cx="4080768" cy="99615"/>
            </a:xfrm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0D9B8A62-742D-F47A-F5D0-C09F4A72930F}"/>
                  </a:ext>
                </a:extLst>
              </p:cNvPr>
              <p:cNvSpPr/>
              <p:nvPr/>
            </p:nvSpPr>
            <p:spPr>
              <a:xfrm>
                <a:off x="1329003" y="6140915"/>
                <a:ext cx="4080740" cy="48559"/>
              </a:xfrm>
              <a:custGeom>
                <a:avLst/>
                <a:gdLst>
                  <a:gd name="connsiteX0" fmla="*/ 4080741 w 4080740"/>
                  <a:gd name="connsiteY0" fmla="*/ 0 h 48559"/>
                  <a:gd name="connsiteX1" fmla="*/ 2040371 w 4080740"/>
                  <a:gd name="connsiteY1" fmla="*/ 0 h 48559"/>
                  <a:gd name="connsiteX2" fmla="*/ 0 w 4080740"/>
                  <a:gd name="connsiteY2" fmla="*/ 0 h 48559"/>
                  <a:gd name="connsiteX3" fmla="*/ 0 w 4080740"/>
                  <a:gd name="connsiteY3" fmla="*/ 48560 h 48559"/>
                  <a:gd name="connsiteX4" fmla="*/ 4080741 w 4080740"/>
                  <a:gd name="connsiteY4" fmla="*/ 48560 h 48559"/>
                  <a:gd name="connsiteX5" fmla="*/ 4080741 w 4080740"/>
                  <a:gd name="connsiteY5" fmla="*/ 0 h 48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80740" h="48559">
                    <a:moveTo>
                      <a:pt x="4080741" y="0"/>
                    </a:moveTo>
                    <a:lnTo>
                      <a:pt x="2040371" y="0"/>
                    </a:lnTo>
                    <a:lnTo>
                      <a:pt x="0" y="0"/>
                    </a:lnTo>
                    <a:lnTo>
                      <a:pt x="0" y="48560"/>
                    </a:lnTo>
                    <a:lnTo>
                      <a:pt x="4080741" y="48560"/>
                    </a:lnTo>
                    <a:lnTo>
                      <a:pt x="4080741" y="0"/>
                    </a:lnTo>
                    <a:close/>
                  </a:path>
                </a:pathLst>
              </a:custGeom>
              <a:solidFill>
                <a:srgbClr val="00000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829544">
                  <a:buClr>
                    <a:srgbClr val="000000"/>
                  </a:buClr>
                </a:pPr>
                <a:endParaRPr lang="en-US" sz="127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AD5ABEDA-1917-4DE0-5AD9-CCEF8BE89BD1}"/>
                  </a:ext>
                </a:extLst>
              </p:cNvPr>
              <p:cNvSpPr/>
              <p:nvPr/>
            </p:nvSpPr>
            <p:spPr>
              <a:xfrm>
                <a:off x="1329003" y="6189475"/>
                <a:ext cx="4080768" cy="51055"/>
              </a:xfrm>
              <a:custGeom>
                <a:avLst/>
                <a:gdLst>
                  <a:gd name="connsiteX0" fmla="*/ 0 w 4080768"/>
                  <a:gd name="connsiteY0" fmla="*/ 0 h 51055"/>
                  <a:gd name="connsiteX1" fmla="*/ 0 w 4080768"/>
                  <a:gd name="connsiteY1" fmla="*/ 0 h 51055"/>
                  <a:gd name="connsiteX2" fmla="*/ 221385 w 4080768"/>
                  <a:gd name="connsiteY2" fmla="*/ 51001 h 51055"/>
                  <a:gd name="connsiteX3" fmla="*/ 2040398 w 4080768"/>
                  <a:gd name="connsiteY3" fmla="*/ 51055 h 51055"/>
                  <a:gd name="connsiteX4" fmla="*/ 3859383 w 4080768"/>
                  <a:gd name="connsiteY4" fmla="*/ 51001 h 51055"/>
                  <a:gd name="connsiteX5" fmla="*/ 4080769 w 4080768"/>
                  <a:gd name="connsiteY5" fmla="*/ 55 h 51055"/>
                  <a:gd name="connsiteX6" fmla="*/ 4080769 w 4080768"/>
                  <a:gd name="connsiteY6" fmla="*/ 55 h 51055"/>
                  <a:gd name="connsiteX7" fmla="*/ 0 w 4080768"/>
                  <a:gd name="connsiteY7" fmla="*/ 27 h 51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80768" h="51055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128269" y="52755"/>
                      <a:pt x="221385" y="51001"/>
                    </a:cubicBezTo>
                    <a:lnTo>
                      <a:pt x="2040398" y="51055"/>
                    </a:lnTo>
                    <a:lnTo>
                      <a:pt x="3859383" y="51001"/>
                    </a:lnTo>
                    <a:cubicBezTo>
                      <a:pt x="3952527" y="52755"/>
                      <a:pt x="4080769" y="55"/>
                      <a:pt x="4080769" y="55"/>
                    </a:cubicBezTo>
                    <a:lnTo>
                      <a:pt x="4080769" y="55"/>
                    </a:lnTo>
                    <a:cubicBezTo>
                      <a:pt x="4080769" y="55"/>
                      <a:pt x="0" y="27"/>
                      <a:pt x="0" y="27"/>
                    </a:cubicBezTo>
                    <a:close/>
                  </a:path>
                </a:pathLst>
              </a:custGeom>
              <a:solidFill>
                <a:srgbClr val="00000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829544">
                  <a:buClr>
                    <a:srgbClr val="000000"/>
                  </a:buClr>
                </a:pPr>
                <a:endParaRPr lang="en-US" sz="127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369E1334-74E6-C256-D737-8B23AC47AB1D}"/>
                  </a:ext>
                </a:extLst>
              </p:cNvPr>
              <p:cNvSpPr/>
              <p:nvPr/>
            </p:nvSpPr>
            <p:spPr>
              <a:xfrm>
                <a:off x="5398886" y="6140915"/>
                <a:ext cx="10858" cy="48560"/>
              </a:xfrm>
              <a:custGeom>
                <a:avLst/>
                <a:gdLst>
                  <a:gd name="connsiteX0" fmla="*/ 0 w 10858"/>
                  <a:gd name="connsiteY0" fmla="*/ 0 h 48560"/>
                  <a:gd name="connsiteX1" fmla="*/ 10858 w 10858"/>
                  <a:gd name="connsiteY1" fmla="*/ 0 h 48560"/>
                  <a:gd name="connsiteX2" fmla="*/ 10858 w 10858"/>
                  <a:gd name="connsiteY2" fmla="*/ 48560 h 48560"/>
                  <a:gd name="connsiteX3" fmla="*/ 0 w 10858"/>
                  <a:gd name="connsiteY3" fmla="*/ 48560 h 48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58" h="48560">
                    <a:moveTo>
                      <a:pt x="0" y="0"/>
                    </a:moveTo>
                    <a:lnTo>
                      <a:pt x="10858" y="0"/>
                    </a:lnTo>
                    <a:lnTo>
                      <a:pt x="10858" y="48560"/>
                    </a:lnTo>
                    <a:lnTo>
                      <a:pt x="0" y="48560"/>
                    </a:lnTo>
                    <a:close/>
                  </a:path>
                </a:pathLst>
              </a:custGeom>
              <a:solidFill>
                <a:srgbClr val="E6E7E8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829544">
                  <a:buClr>
                    <a:srgbClr val="000000"/>
                  </a:buClr>
                </a:pPr>
                <a:endParaRPr lang="en-US" sz="127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1A1F23B2-E2C2-CD87-9A26-52E636ED63D5}"/>
                  </a:ext>
                </a:extLst>
              </p:cNvPr>
              <p:cNvSpPr/>
              <p:nvPr/>
            </p:nvSpPr>
            <p:spPr>
              <a:xfrm>
                <a:off x="1329278" y="6140915"/>
                <a:ext cx="10858" cy="48560"/>
              </a:xfrm>
              <a:custGeom>
                <a:avLst/>
                <a:gdLst>
                  <a:gd name="connsiteX0" fmla="*/ 0 w 10858"/>
                  <a:gd name="connsiteY0" fmla="*/ 0 h 48560"/>
                  <a:gd name="connsiteX1" fmla="*/ 10858 w 10858"/>
                  <a:gd name="connsiteY1" fmla="*/ 0 h 48560"/>
                  <a:gd name="connsiteX2" fmla="*/ 10858 w 10858"/>
                  <a:gd name="connsiteY2" fmla="*/ 48560 h 48560"/>
                  <a:gd name="connsiteX3" fmla="*/ 0 w 10858"/>
                  <a:gd name="connsiteY3" fmla="*/ 48560 h 48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58" h="48560">
                    <a:moveTo>
                      <a:pt x="0" y="0"/>
                    </a:moveTo>
                    <a:lnTo>
                      <a:pt x="10858" y="0"/>
                    </a:lnTo>
                    <a:lnTo>
                      <a:pt x="10858" y="48560"/>
                    </a:lnTo>
                    <a:lnTo>
                      <a:pt x="0" y="48560"/>
                    </a:lnTo>
                    <a:close/>
                  </a:path>
                </a:pathLst>
              </a:custGeom>
              <a:solidFill>
                <a:srgbClr val="E6E7E8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829544">
                  <a:buClr>
                    <a:srgbClr val="000000"/>
                  </a:buClr>
                </a:pPr>
                <a:endParaRPr lang="en-US" sz="127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grpSp>
            <p:nvGrpSpPr>
              <p:cNvPr id="44" name="Graphic 2">
                <a:extLst>
                  <a:ext uri="{FF2B5EF4-FFF2-40B4-BE49-F238E27FC236}">
                    <a16:creationId xmlns:a16="http://schemas.microsoft.com/office/drawing/2014/main" id="{D283A666-D1C0-C55D-7595-C2C282744EB1}"/>
                  </a:ext>
                </a:extLst>
              </p:cNvPr>
              <p:cNvGrpSpPr/>
              <p:nvPr/>
            </p:nvGrpSpPr>
            <p:grpSpPr>
              <a:xfrm>
                <a:off x="5069961" y="6151663"/>
                <a:ext cx="106223" cy="28872"/>
                <a:chOff x="5069961" y="6151663"/>
                <a:chExt cx="106223" cy="28872"/>
              </a:xfrm>
            </p:grpSpPr>
            <p:grpSp>
              <p:nvGrpSpPr>
                <p:cNvPr id="48" name="Graphic 2">
                  <a:extLst>
                    <a:ext uri="{FF2B5EF4-FFF2-40B4-BE49-F238E27FC236}">
                      <a16:creationId xmlns:a16="http://schemas.microsoft.com/office/drawing/2014/main" id="{070EE18D-2C11-E4D2-5711-71579EDAF2A1}"/>
                    </a:ext>
                  </a:extLst>
                </p:cNvPr>
                <p:cNvGrpSpPr/>
                <p:nvPr/>
              </p:nvGrpSpPr>
              <p:grpSpPr>
                <a:xfrm>
                  <a:off x="5069961" y="6158765"/>
                  <a:ext cx="14559" cy="14669"/>
                  <a:chOff x="5069961" y="6158765"/>
                  <a:chExt cx="14559" cy="14669"/>
                </a:xfrm>
              </p:grpSpPr>
              <p:sp>
                <p:nvSpPr>
                  <p:cNvPr id="57" name="Freeform: Shape 56">
                    <a:extLst>
                      <a:ext uri="{FF2B5EF4-FFF2-40B4-BE49-F238E27FC236}">
                        <a16:creationId xmlns:a16="http://schemas.microsoft.com/office/drawing/2014/main" id="{81043764-437B-0BF4-F79B-5414CA203541}"/>
                      </a:ext>
                    </a:extLst>
                  </p:cNvPr>
                  <p:cNvSpPr/>
                  <p:nvPr/>
                </p:nvSpPr>
                <p:spPr>
                  <a:xfrm>
                    <a:off x="5070318" y="6159231"/>
                    <a:ext cx="14203" cy="14203"/>
                  </a:xfrm>
                  <a:custGeom>
                    <a:avLst/>
                    <a:gdLst>
                      <a:gd name="connsiteX0" fmla="*/ 14203 w 14203"/>
                      <a:gd name="connsiteY0" fmla="*/ 7102 h 14203"/>
                      <a:gd name="connsiteX1" fmla="*/ 7102 w 14203"/>
                      <a:gd name="connsiteY1" fmla="*/ 0 h 14203"/>
                      <a:gd name="connsiteX2" fmla="*/ 0 w 14203"/>
                      <a:gd name="connsiteY2" fmla="*/ 7102 h 14203"/>
                      <a:gd name="connsiteX3" fmla="*/ 7102 w 14203"/>
                      <a:gd name="connsiteY3" fmla="*/ 14203 h 14203"/>
                      <a:gd name="connsiteX4" fmla="*/ 14203 w 14203"/>
                      <a:gd name="connsiteY4" fmla="*/ 7102 h 14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203" h="14203">
                        <a:moveTo>
                          <a:pt x="14203" y="7102"/>
                        </a:moveTo>
                        <a:cubicBezTo>
                          <a:pt x="14203" y="3180"/>
                          <a:pt x="11023" y="0"/>
                          <a:pt x="7102" y="0"/>
                        </a:cubicBezTo>
                        <a:cubicBezTo>
                          <a:pt x="3181" y="0"/>
                          <a:pt x="0" y="3180"/>
                          <a:pt x="0" y="7102"/>
                        </a:cubicBezTo>
                        <a:cubicBezTo>
                          <a:pt x="0" y="11022"/>
                          <a:pt x="3181" y="14203"/>
                          <a:pt x="7102" y="14203"/>
                        </a:cubicBezTo>
                        <a:cubicBezTo>
                          <a:pt x="11023" y="14203"/>
                          <a:pt x="14203" y="11022"/>
                          <a:pt x="14203" y="7102"/>
                        </a:cubicBezTo>
                        <a:close/>
                      </a:path>
                    </a:pathLst>
                  </a:custGeom>
                  <a:solidFill>
                    <a:srgbClr val="58595B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829544">
                      <a:buClr>
                        <a:srgbClr val="000000"/>
                      </a:buClr>
                    </a:pPr>
                    <a:endParaRPr lang="en-US" sz="1270" kern="0" dirty="0">
                      <a:solidFill>
                        <a:srgbClr val="000000"/>
                      </a:solidFill>
                      <a:latin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58" name="Freeform: Shape 57">
                    <a:extLst>
                      <a:ext uri="{FF2B5EF4-FFF2-40B4-BE49-F238E27FC236}">
                        <a16:creationId xmlns:a16="http://schemas.microsoft.com/office/drawing/2014/main" id="{C8FC3EDE-475A-031A-1778-8D40431C88CA}"/>
                      </a:ext>
                    </a:extLst>
                  </p:cNvPr>
                  <p:cNvSpPr/>
                  <p:nvPr/>
                </p:nvSpPr>
                <p:spPr>
                  <a:xfrm>
                    <a:off x="5069961" y="6158765"/>
                    <a:ext cx="14203" cy="14203"/>
                  </a:xfrm>
                  <a:custGeom>
                    <a:avLst/>
                    <a:gdLst>
                      <a:gd name="connsiteX0" fmla="*/ 14203 w 14203"/>
                      <a:gd name="connsiteY0" fmla="*/ 7102 h 14203"/>
                      <a:gd name="connsiteX1" fmla="*/ 7102 w 14203"/>
                      <a:gd name="connsiteY1" fmla="*/ 0 h 14203"/>
                      <a:gd name="connsiteX2" fmla="*/ 0 w 14203"/>
                      <a:gd name="connsiteY2" fmla="*/ 7102 h 14203"/>
                      <a:gd name="connsiteX3" fmla="*/ 7102 w 14203"/>
                      <a:gd name="connsiteY3" fmla="*/ 14203 h 14203"/>
                      <a:gd name="connsiteX4" fmla="*/ 14203 w 14203"/>
                      <a:gd name="connsiteY4" fmla="*/ 7102 h 14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203" h="14203">
                        <a:moveTo>
                          <a:pt x="14203" y="7102"/>
                        </a:moveTo>
                        <a:cubicBezTo>
                          <a:pt x="14203" y="3181"/>
                          <a:pt x="11023" y="0"/>
                          <a:pt x="7102" y="0"/>
                        </a:cubicBezTo>
                        <a:cubicBezTo>
                          <a:pt x="3181" y="0"/>
                          <a:pt x="0" y="3181"/>
                          <a:pt x="0" y="7102"/>
                        </a:cubicBezTo>
                        <a:cubicBezTo>
                          <a:pt x="0" y="11023"/>
                          <a:pt x="3181" y="14203"/>
                          <a:pt x="7102" y="14203"/>
                        </a:cubicBezTo>
                        <a:cubicBezTo>
                          <a:pt x="11023" y="14203"/>
                          <a:pt x="14203" y="11023"/>
                          <a:pt x="14203" y="7102"/>
                        </a:cubicBezTo>
                        <a:close/>
                      </a:path>
                    </a:pathLst>
                  </a:custGeom>
                  <a:solidFill>
                    <a:srgbClr val="BCBEC0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829544">
                      <a:buClr>
                        <a:srgbClr val="000000"/>
                      </a:buClr>
                    </a:pPr>
                    <a:endParaRPr lang="en-US" sz="1270" kern="0" dirty="0">
                      <a:solidFill>
                        <a:srgbClr val="000000"/>
                      </a:solidFill>
                      <a:latin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59" name="Freeform: Shape 58">
                    <a:extLst>
                      <a:ext uri="{FF2B5EF4-FFF2-40B4-BE49-F238E27FC236}">
                        <a16:creationId xmlns:a16="http://schemas.microsoft.com/office/drawing/2014/main" id="{644903A2-8852-A49E-A2EF-91AA2390A165}"/>
                      </a:ext>
                    </a:extLst>
                  </p:cNvPr>
                  <p:cNvSpPr/>
                  <p:nvPr/>
                </p:nvSpPr>
                <p:spPr>
                  <a:xfrm>
                    <a:off x="5070976" y="6159779"/>
                    <a:ext cx="12174" cy="12174"/>
                  </a:xfrm>
                  <a:custGeom>
                    <a:avLst/>
                    <a:gdLst>
                      <a:gd name="connsiteX0" fmla="*/ 12174 w 12174"/>
                      <a:gd name="connsiteY0" fmla="*/ 6087 h 12174"/>
                      <a:gd name="connsiteX1" fmla="*/ 6087 w 12174"/>
                      <a:gd name="connsiteY1" fmla="*/ 0 h 12174"/>
                      <a:gd name="connsiteX2" fmla="*/ 0 w 12174"/>
                      <a:gd name="connsiteY2" fmla="*/ 6087 h 12174"/>
                      <a:gd name="connsiteX3" fmla="*/ 6087 w 12174"/>
                      <a:gd name="connsiteY3" fmla="*/ 12174 h 12174"/>
                      <a:gd name="connsiteX4" fmla="*/ 12174 w 12174"/>
                      <a:gd name="connsiteY4" fmla="*/ 6087 h 121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174" h="12174">
                        <a:moveTo>
                          <a:pt x="12174" y="6087"/>
                        </a:moveTo>
                        <a:cubicBezTo>
                          <a:pt x="12174" y="2742"/>
                          <a:pt x="9460" y="0"/>
                          <a:pt x="6087" y="0"/>
                        </a:cubicBezTo>
                        <a:cubicBezTo>
                          <a:pt x="2715" y="0"/>
                          <a:pt x="0" y="2715"/>
                          <a:pt x="0" y="6087"/>
                        </a:cubicBezTo>
                        <a:cubicBezTo>
                          <a:pt x="0" y="9460"/>
                          <a:pt x="2715" y="12174"/>
                          <a:pt x="6087" y="12174"/>
                        </a:cubicBezTo>
                        <a:cubicBezTo>
                          <a:pt x="9460" y="12174"/>
                          <a:pt x="12174" y="9460"/>
                          <a:pt x="12174" y="6087"/>
                        </a:cubicBezTo>
                        <a:close/>
                      </a:path>
                    </a:pathLst>
                  </a:custGeom>
                  <a:solidFill>
                    <a:srgbClr val="333333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829544">
                      <a:buClr>
                        <a:srgbClr val="000000"/>
                      </a:buClr>
                    </a:pPr>
                    <a:endParaRPr lang="en-US" sz="1270" kern="0" dirty="0">
                      <a:solidFill>
                        <a:srgbClr val="000000"/>
                      </a:solidFill>
                      <a:latin typeface="Arial"/>
                      <a:cs typeface="Arial"/>
                      <a:sym typeface="Arial"/>
                    </a:endParaRPr>
                  </a:p>
                </p:txBody>
              </p:sp>
            </p:grpSp>
            <p:grpSp>
              <p:nvGrpSpPr>
                <p:cNvPr id="49" name="Graphic 2">
                  <a:extLst>
                    <a:ext uri="{FF2B5EF4-FFF2-40B4-BE49-F238E27FC236}">
                      <a16:creationId xmlns:a16="http://schemas.microsoft.com/office/drawing/2014/main" id="{1A0DF5EF-AFE6-FF42-AC2D-702C030364DC}"/>
                    </a:ext>
                  </a:extLst>
                </p:cNvPr>
                <p:cNvGrpSpPr/>
                <p:nvPr/>
              </p:nvGrpSpPr>
              <p:grpSpPr>
                <a:xfrm>
                  <a:off x="5105196" y="6151663"/>
                  <a:ext cx="28708" cy="28872"/>
                  <a:chOff x="5105196" y="6151663"/>
                  <a:chExt cx="28708" cy="28872"/>
                </a:xfrm>
              </p:grpSpPr>
              <p:sp>
                <p:nvSpPr>
                  <p:cNvPr id="54" name="Freeform: Shape 53">
                    <a:extLst>
                      <a:ext uri="{FF2B5EF4-FFF2-40B4-BE49-F238E27FC236}">
                        <a16:creationId xmlns:a16="http://schemas.microsoft.com/office/drawing/2014/main" id="{BBD88E40-B91F-C148-9AD0-7A500F56C4EF}"/>
                      </a:ext>
                    </a:extLst>
                  </p:cNvPr>
                  <p:cNvSpPr/>
                  <p:nvPr/>
                </p:nvSpPr>
                <p:spPr>
                  <a:xfrm>
                    <a:off x="5105936" y="6152568"/>
                    <a:ext cx="27968" cy="27967"/>
                  </a:xfrm>
                  <a:custGeom>
                    <a:avLst/>
                    <a:gdLst>
                      <a:gd name="connsiteX0" fmla="*/ 27968 w 27968"/>
                      <a:gd name="connsiteY0" fmla="*/ 13984 h 27967"/>
                      <a:gd name="connsiteX1" fmla="*/ 13984 w 27968"/>
                      <a:gd name="connsiteY1" fmla="*/ 0 h 27967"/>
                      <a:gd name="connsiteX2" fmla="*/ 0 w 27968"/>
                      <a:gd name="connsiteY2" fmla="*/ 13984 h 27967"/>
                      <a:gd name="connsiteX3" fmla="*/ 13984 w 27968"/>
                      <a:gd name="connsiteY3" fmla="*/ 27968 h 27967"/>
                      <a:gd name="connsiteX4" fmla="*/ 27968 w 27968"/>
                      <a:gd name="connsiteY4" fmla="*/ 13984 h 2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968" h="27967">
                        <a:moveTo>
                          <a:pt x="27968" y="13984"/>
                        </a:moveTo>
                        <a:cubicBezTo>
                          <a:pt x="27968" y="6252"/>
                          <a:pt x="21716" y="0"/>
                          <a:pt x="13984" y="0"/>
                        </a:cubicBezTo>
                        <a:cubicBezTo>
                          <a:pt x="6252" y="0"/>
                          <a:pt x="0" y="6279"/>
                          <a:pt x="0" y="13984"/>
                        </a:cubicBezTo>
                        <a:cubicBezTo>
                          <a:pt x="0" y="21689"/>
                          <a:pt x="6279" y="27968"/>
                          <a:pt x="13984" y="27968"/>
                        </a:cubicBezTo>
                        <a:cubicBezTo>
                          <a:pt x="21689" y="27968"/>
                          <a:pt x="27968" y="21689"/>
                          <a:pt x="27968" y="13984"/>
                        </a:cubicBezTo>
                        <a:close/>
                      </a:path>
                    </a:pathLst>
                  </a:custGeom>
                  <a:solidFill>
                    <a:srgbClr val="58595B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829544">
                      <a:buClr>
                        <a:srgbClr val="000000"/>
                      </a:buClr>
                    </a:pPr>
                    <a:endParaRPr lang="en-US" sz="1270" kern="0" dirty="0">
                      <a:solidFill>
                        <a:srgbClr val="000000"/>
                      </a:solidFill>
                      <a:latin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55" name="Freeform: Shape 54">
                    <a:extLst>
                      <a:ext uri="{FF2B5EF4-FFF2-40B4-BE49-F238E27FC236}">
                        <a16:creationId xmlns:a16="http://schemas.microsoft.com/office/drawing/2014/main" id="{D5329BC7-B9DE-6CE4-5398-4E62953C94F6}"/>
                      </a:ext>
                    </a:extLst>
                  </p:cNvPr>
                  <p:cNvSpPr/>
                  <p:nvPr/>
                </p:nvSpPr>
                <p:spPr>
                  <a:xfrm>
                    <a:off x="5105196" y="6151663"/>
                    <a:ext cx="27967" cy="27967"/>
                  </a:xfrm>
                  <a:custGeom>
                    <a:avLst/>
                    <a:gdLst>
                      <a:gd name="connsiteX0" fmla="*/ 27968 w 27967"/>
                      <a:gd name="connsiteY0" fmla="*/ 13984 h 27967"/>
                      <a:gd name="connsiteX1" fmla="*/ 13984 w 27967"/>
                      <a:gd name="connsiteY1" fmla="*/ 27968 h 27967"/>
                      <a:gd name="connsiteX2" fmla="*/ 0 w 27967"/>
                      <a:gd name="connsiteY2" fmla="*/ 13984 h 27967"/>
                      <a:gd name="connsiteX3" fmla="*/ 13984 w 27967"/>
                      <a:gd name="connsiteY3" fmla="*/ 0 h 27967"/>
                      <a:gd name="connsiteX4" fmla="*/ 27968 w 27967"/>
                      <a:gd name="connsiteY4" fmla="*/ 13984 h 2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967" h="27967">
                        <a:moveTo>
                          <a:pt x="27968" y="13984"/>
                        </a:moveTo>
                        <a:cubicBezTo>
                          <a:pt x="27968" y="21707"/>
                          <a:pt x="21707" y="27968"/>
                          <a:pt x="13984" y="27968"/>
                        </a:cubicBezTo>
                        <a:cubicBezTo>
                          <a:pt x="6261" y="27968"/>
                          <a:pt x="0" y="21707"/>
                          <a:pt x="0" y="13984"/>
                        </a:cubicBezTo>
                        <a:cubicBezTo>
                          <a:pt x="0" y="6261"/>
                          <a:pt x="6261" y="0"/>
                          <a:pt x="13984" y="0"/>
                        </a:cubicBezTo>
                        <a:cubicBezTo>
                          <a:pt x="21707" y="0"/>
                          <a:pt x="27968" y="6261"/>
                          <a:pt x="27968" y="13984"/>
                        </a:cubicBezTo>
                        <a:close/>
                      </a:path>
                    </a:pathLst>
                  </a:custGeom>
                  <a:solidFill>
                    <a:srgbClr val="BCBEC0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829544">
                      <a:buClr>
                        <a:srgbClr val="000000"/>
                      </a:buClr>
                    </a:pPr>
                    <a:endParaRPr lang="en-US" sz="1270" kern="0" dirty="0">
                      <a:solidFill>
                        <a:srgbClr val="000000"/>
                      </a:solidFill>
                      <a:latin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56" name="Freeform: Shape 55">
                    <a:extLst>
                      <a:ext uri="{FF2B5EF4-FFF2-40B4-BE49-F238E27FC236}">
                        <a16:creationId xmlns:a16="http://schemas.microsoft.com/office/drawing/2014/main" id="{E1E5618D-7D80-983E-BB84-996E124E2E2D}"/>
                      </a:ext>
                    </a:extLst>
                  </p:cNvPr>
                  <p:cNvSpPr/>
                  <p:nvPr/>
                </p:nvSpPr>
                <p:spPr>
                  <a:xfrm>
                    <a:off x="5107197" y="6153665"/>
                    <a:ext cx="23964" cy="23964"/>
                  </a:xfrm>
                  <a:custGeom>
                    <a:avLst/>
                    <a:gdLst>
                      <a:gd name="connsiteX0" fmla="*/ 23965 w 23964"/>
                      <a:gd name="connsiteY0" fmla="*/ 11982 h 23964"/>
                      <a:gd name="connsiteX1" fmla="*/ 11982 w 23964"/>
                      <a:gd name="connsiteY1" fmla="*/ 23965 h 23964"/>
                      <a:gd name="connsiteX2" fmla="*/ 0 w 23964"/>
                      <a:gd name="connsiteY2" fmla="*/ 11982 h 23964"/>
                      <a:gd name="connsiteX3" fmla="*/ 11982 w 23964"/>
                      <a:gd name="connsiteY3" fmla="*/ 0 h 23964"/>
                      <a:gd name="connsiteX4" fmla="*/ 23965 w 23964"/>
                      <a:gd name="connsiteY4" fmla="*/ 11982 h 239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964" h="23964">
                        <a:moveTo>
                          <a:pt x="23965" y="11982"/>
                        </a:moveTo>
                        <a:cubicBezTo>
                          <a:pt x="23965" y="18600"/>
                          <a:pt x="18600" y="23965"/>
                          <a:pt x="11982" y="23965"/>
                        </a:cubicBezTo>
                        <a:cubicBezTo>
                          <a:pt x="5365" y="23965"/>
                          <a:pt x="0" y="18600"/>
                          <a:pt x="0" y="11982"/>
                        </a:cubicBezTo>
                        <a:cubicBezTo>
                          <a:pt x="0" y="5365"/>
                          <a:pt x="5365" y="0"/>
                          <a:pt x="11982" y="0"/>
                        </a:cubicBezTo>
                        <a:cubicBezTo>
                          <a:pt x="18600" y="0"/>
                          <a:pt x="23965" y="5365"/>
                          <a:pt x="23965" y="11982"/>
                        </a:cubicBezTo>
                        <a:close/>
                      </a:path>
                    </a:pathLst>
                  </a:custGeom>
                  <a:solidFill>
                    <a:srgbClr val="4D4D4D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829544">
                      <a:buClr>
                        <a:srgbClr val="000000"/>
                      </a:buClr>
                    </a:pPr>
                    <a:endParaRPr lang="en-US" sz="1270" kern="0" dirty="0">
                      <a:solidFill>
                        <a:srgbClr val="000000"/>
                      </a:solidFill>
                      <a:latin typeface="Arial"/>
                      <a:cs typeface="Arial"/>
                      <a:sym typeface="Arial"/>
                    </a:endParaRPr>
                  </a:p>
                </p:txBody>
              </p:sp>
            </p:grpSp>
            <p:grpSp>
              <p:nvGrpSpPr>
                <p:cNvPr id="50" name="Graphic 2">
                  <a:extLst>
                    <a:ext uri="{FF2B5EF4-FFF2-40B4-BE49-F238E27FC236}">
                      <a16:creationId xmlns:a16="http://schemas.microsoft.com/office/drawing/2014/main" id="{BD187A83-CABC-5858-DA38-83D91BA85E12}"/>
                    </a:ext>
                  </a:extLst>
                </p:cNvPr>
                <p:cNvGrpSpPr/>
                <p:nvPr/>
              </p:nvGrpSpPr>
              <p:grpSpPr>
                <a:xfrm>
                  <a:off x="5147504" y="6151663"/>
                  <a:ext cx="28680" cy="28872"/>
                  <a:chOff x="5147504" y="6151663"/>
                  <a:chExt cx="28680" cy="28872"/>
                </a:xfrm>
              </p:grpSpPr>
              <p:sp>
                <p:nvSpPr>
                  <p:cNvPr id="51" name="Freeform: Shape 50">
                    <a:extLst>
                      <a:ext uri="{FF2B5EF4-FFF2-40B4-BE49-F238E27FC236}">
                        <a16:creationId xmlns:a16="http://schemas.microsoft.com/office/drawing/2014/main" id="{FD8608A1-A8B2-DC72-5A59-800F69E1B637}"/>
                      </a:ext>
                    </a:extLst>
                  </p:cNvPr>
                  <p:cNvSpPr/>
                  <p:nvPr/>
                </p:nvSpPr>
                <p:spPr>
                  <a:xfrm>
                    <a:off x="5148217" y="6152568"/>
                    <a:ext cx="27967" cy="27967"/>
                  </a:xfrm>
                  <a:custGeom>
                    <a:avLst/>
                    <a:gdLst>
                      <a:gd name="connsiteX0" fmla="*/ 27968 w 27967"/>
                      <a:gd name="connsiteY0" fmla="*/ 13984 h 27967"/>
                      <a:gd name="connsiteX1" fmla="*/ 13984 w 27967"/>
                      <a:gd name="connsiteY1" fmla="*/ 0 h 27967"/>
                      <a:gd name="connsiteX2" fmla="*/ 0 w 27967"/>
                      <a:gd name="connsiteY2" fmla="*/ 13984 h 27967"/>
                      <a:gd name="connsiteX3" fmla="*/ 13984 w 27967"/>
                      <a:gd name="connsiteY3" fmla="*/ 27968 h 27967"/>
                      <a:gd name="connsiteX4" fmla="*/ 27968 w 27967"/>
                      <a:gd name="connsiteY4" fmla="*/ 13984 h 2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967" h="27967">
                        <a:moveTo>
                          <a:pt x="27968" y="13984"/>
                        </a:moveTo>
                        <a:cubicBezTo>
                          <a:pt x="27968" y="6252"/>
                          <a:pt x="21689" y="0"/>
                          <a:pt x="13984" y="0"/>
                        </a:cubicBezTo>
                        <a:cubicBezTo>
                          <a:pt x="6279" y="0"/>
                          <a:pt x="0" y="6279"/>
                          <a:pt x="0" y="13984"/>
                        </a:cubicBezTo>
                        <a:cubicBezTo>
                          <a:pt x="0" y="21689"/>
                          <a:pt x="6279" y="27968"/>
                          <a:pt x="13984" y="27968"/>
                        </a:cubicBezTo>
                        <a:cubicBezTo>
                          <a:pt x="21689" y="27968"/>
                          <a:pt x="27968" y="21689"/>
                          <a:pt x="27968" y="13984"/>
                        </a:cubicBezTo>
                        <a:close/>
                      </a:path>
                    </a:pathLst>
                  </a:custGeom>
                  <a:solidFill>
                    <a:srgbClr val="58595B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829544">
                      <a:buClr>
                        <a:srgbClr val="000000"/>
                      </a:buClr>
                    </a:pPr>
                    <a:endParaRPr lang="en-US" sz="1270" kern="0" dirty="0">
                      <a:solidFill>
                        <a:srgbClr val="000000"/>
                      </a:solidFill>
                      <a:latin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52" name="Freeform: Shape 51">
                    <a:extLst>
                      <a:ext uri="{FF2B5EF4-FFF2-40B4-BE49-F238E27FC236}">
                        <a16:creationId xmlns:a16="http://schemas.microsoft.com/office/drawing/2014/main" id="{8E681630-F22B-1C33-1989-762E84C2E50C}"/>
                      </a:ext>
                    </a:extLst>
                  </p:cNvPr>
                  <p:cNvSpPr/>
                  <p:nvPr/>
                </p:nvSpPr>
                <p:spPr>
                  <a:xfrm>
                    <a:off x="5147504" y="6151663"/>
                    <a:ext cx="27967" cy="27967"/>
                  </a:xfrm>
                  <a:custGeom>
                    <a:avLst/>
                    <a:gdLst>
                      <a:gd name="connsiteX0" fmla="*/ 27968 w 27967"/>
                      <a:gd name="connsiteY0" fmla="*/ 13984 h 27967"/>
                      <a:gd name="connsiteX1" fmla="*/ 13984 w 27967"/>
                      <a:gd name="connsiteY1" fmla="*/ 27968 h 27967"/>
                      <a:gd name="connsiteX2" fmla="*/ 0 w 27967"/>
                      <a:gd name="connsiteY2" fmla="*/ 13984 h 27967"/>
                      <a:gd name="connsiteX3" fmla="*/ 13984 w 27967"/>
                      <a:gd name="connsiteY3" fmla="*/ 0 h 27967"/>
                      <a:gd name="connsiteX4" fmla="*/ 27968 w 27967"/>
                      <a:gd name="connsiteY4" fmla="*/ 13984 h 2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967" h="27967">
                        <a:moveTo>
                          <a:pt x="27968" y="13984"/>
                        </a:moveTo>
                        <a:cubicBezTo>
                          <a:pt x="27968" y="21707"/>
                          <a:pt x="21707" y="27968"/>
                          <a:pt x="13984" y="27968"/>
                        </a:cubicBezTo>
                        <a:cubicBezTo>
                          <a:pt x="6261" y="27968"/>
                          <a:pt x="0" y="21707"/>
                          <a:pt x="0" y="13984"/>
                        </a:cubicBezTo>
                        <a:cubicBezTo>
                          <a:pt x="0" y="6261"/>
                          <a:pt x="6261" y="0"/>
                          <a:pt x="13984" y="0"/>
                        </a:cubicBezTo>
                        <a:cubicBezTo>
                          <a:pt x="21707" y="0"/>
                          <a:pt x="27968" y="6261"/>
                          <a:pt x="27968" y="13984"/>
                        </a:cubicBezTo>
                        <a:close/>
                      </a:path>
                    </a:pathLst>
                  </a:custGeom>
                  <a:solidFill>
                    <a:srgbClr val="BCBEC0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829544">
                      <a:buClr>
                        <a:srgbClr val="000000"/>
                      </a:buClr>
                    </a:pPr>
                    <a:endParaRPr lang="en-US" sz="1270" kern="0" dirty="0">
                      <a:solidFill>
                        <a:srgbClr val="000000"/>
                      </a:solidFill>
                      <a:latin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53" name="Freeform: Shape 52">
                    <a:extLst>
                      <a:ext uri="{FF2B5EF4-FFF2-40B4-BE49-F238E27FC236}">
                        <a16:creationId xmlns:a16="http://schemas.microsoft.com/office/drawing/2014/main" id="{2A656729-73AF-57DC-02CB-E2F443B63609}"/>
                      </a:ext>
                    </a:extLst>
                  </p:cNvPr>
                  <p:cNvSpPr/>
                  <p:nvPr/>
                </p:nvSpPr>
                <p:spPr>
                  <a:xfrm>
                    <a:off x="5149506" y="6153665"/>
                    <a:ext cx="23964" cy="23964"/>
                  </a:xfrm>
                  <a:custGeom>
                    <a:avLst/>
                    <a:gdLst>
                      <a:gd name="connsiteX0" fmla="*/ 23965 w 23964"/>
                      <a:gd name="connsiteY0" fmla="*/ 11982 h 23964"/>
                      <a:gd name="connsiteX1" fmla="*/ 11982 w 23964"/>
                      <a:gd name="connsiteY1" fmla="*/ 23965 h 23964"/>
                      <a:gd name="connsiteX2" fmla="*/ 0 w 23964"/>
                      <a:gd name="connsiteY2" fmla="*/ 11982 h 23964"/>
                      <a:gd name="connsiteX3" fmla="*/ 11982 w 23964"/>
                      <a:gd name="connsiteY3" fmla="*/ 0 h 23964"/>
                      <a:gd name="connsiteX4" fmla="*/ 23965 w 23964"/>
                      <a:gd name="connsiteY4" fmla="*/ 11982 h 239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964" h="23964">
                        <a:moveTo>
                          <a:pt x="23965" y="11982"/>
                        </a:moveTo>
                        <a:cubicBezTo>
                          <a:pt x="23965" y="18600"/>
                          <a:pt x="18600" y="23965"/>
                          <a:pt x="11982" y="23965"/>
                        </a:cubicBezTo>
                        <a:cubicBezTo>
                          <a:pt x="5365" y="23965"/>
                          <a:pt x="0" y="18600"/>
                          <a:pt x="0" y="11982"/>
                        </a:cubicBezTo>
                        <a:cubicBezTo>
                          <a:pt x="0" y="5365"/>
                          <a:pt x="5365" y="0"/>
                          <a:pt x="11982" y="0"/>
                        </a:cubicBezTo>
                        <a:cubicBezTo>
                          <a:pt x="18600" y="0"/>
                          <a:pt x="23965" y="5365"/>
                          <a:pt x="23965" y="11982"/>
                        </a:cubicBezTo>
                        <a:close/>
                      </a:path>
                    </a:pathLst>
                  </a:custGeom>
                  <a:solidFill>
                    <a:srgbClr val="4D4D4D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829544">
                      <a:buClr>
                        <a:srgbClr val="000000"/>
                      </a:buClr>
                    </a:pPr>
                    <a:endParaRPr lang="en-US" sz="1270" kern="0" dirty="0">
                      <a:solidFill>
                        <a:srgbClr val="000000"/>
                      </a:solidFill>
                      <a:latin typeface="Arial"/>
                      <a:cs typeface="Arial"/>
                      <a:sym typeface="Arial"/>
                    </a:endParaRPr>
                  </a:p>
                </p:txBody>
              </p:sp>
            </p:grpSp>
          </p:grpSp>
          <p:grpSp>
            <p:nvGrpSpPr>
              <p:cNvPr id="45" name="Graphic 2">
                <a:extLst>
                  <a:ext uri="{FF2B5EF4-FFF2-40B4-BE49-F238E27FC236}">
                    <a16:creationId xmlns:a16="http://schemas.microsoft.com/office/drawing/2014/main" id="{05F15418-2F8C-3D55-FDF4-086BFB3D99D7}"/>
                  </a:ext>
                </a:extLst>
              </p:cNvPr>
              <p:cNvGrpSpPr/>
              <p:nvPr/>
            </p:nvGrpSpPr>
            <p:grpSpPr>
              <a:xfrm>
                <a:off x="3103267" y="6140915"/>
                <a:ext cx="532268" cy="27748"/>
                <a:chOff x="3103267" y="6140915"/>
                <a:chExt cx="532268" cy="27748"/>
              </a:xfrm>
            </p:grpSpPr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D97E3A34-7E8C-7621-0B0C-C35570B88CC0}"/>
                    </a:ext>
                  </a:extLst>
                </p:cNvPr>
                <p:cNvSpPr/>
                <p:nvPr/>
              </p:nvSpPr>
              <p:spPr>
                <a:xfrm>
                  <a:off x="3103267" y="6140915"/>
                  <a:ext cx="532240" cy="27748"/>
                </a:xfrm>
                <a:custGeom>
                  <a:avLst/>
                  <a:gdLst>
                    <a:gd name="connsiteX0" fmla="*/ 266381 w 532240"/>
                    <a:gd name="connsiteY0" fmla="*/ 0 h 27748"/>
                    <a:gd name="connsiteX1" fmla="*/ 0 w 532240"/>
                    <a:gd name="connsiteY1" fmla="*/ 0 h 27748"/>
                    <a:gd name="connsiteX2" fmla="*/ 63010 w 532240"/>
                    <a:gd name="connsiteY2" fmla="*/ 27749 h 27748"/>
                    <a:gd name="connsiteX3" fmla="*/ 469231 w 532240"/>
                    <a:gd name="connsiteY3" fmla="*/ 27749 h 27748"/>
                    <a:gd name="connsiteX4" fmla="*/ 532241 w 532240"/>
                    <a:gd name="connsiteY4" fmla="*/ 0 h 27748"/>
                    <a:gd name="connsiteX5" fmla="*/ 266381 w 532240"/>
                    <a:gd name="connsiteY5" fmla="*/ 0 h 27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32240" h="27748">
                      <a:moveTo>
                        <a:pt x="266381" y="0"/>
                      </a:moveTo>
                      <a:lnTo>
                        <a:pt x="0" y="0"/>
                      </a:lnTo>
                      <a:cubicBezTo>
                        <a:pt x="0" y="0"/>
                        <a:pt x="5868" y="27749"/>
                        <a:pt x="63010" y="27749"/>
                      </a:cubicBezTo>
                      <a:lnTo>
                        <a:pt x="469231" y="27749"/>
                      </a:lnTo>
                      <a:cubicBezTo>
                        <a:pt x="526373" y="27749"/>
                        <a:pt x="532241" y="0"/>
                        <a:pt x="532241" y="0"/>
                      </a:cubicBezTo>
                      <a:lnTo>
                        <a:pt x="266381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7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829544">
                    <a:buClr>
                      <a:srgbClr val="000000"/>
                    </a:buClr>
                  </a:pPr>
                  <a:endParaRPr lang="en-US" sz="1270" kern="0" dirty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2527B7CF-B7B4-7177-D90D-0FEA1248F46E}"/>
                    </a:ext>
                  </a:extLst>
                </p:cNvPr>
                <p:cNvSpPr/>
                <p:nvPr/>
              </p:nvSpPr>
              <p:spPr>
                <a:xfrm>
                  <a:off x="3123338" y="6140915"/>
                  <a:ext cx="512197" cy="27748"/>
                </a:xfrm>
                <a:custGeom>
                  <a:avLst/>
                  <a:gdLst>
                    <a:gd name="connsiteX0" fmla="*/ 502299 w 512197"/>
                    <a:gd name="connsiteY0" fmla="*/ 0 h 27748"/>
                    <a:gd name="connsiteX1" fmla="*/ 440056 w 512197"/>
                    <a:gd name="connsiteY1" fmla="*/ 24349 h 27748"/>
                    <a:gd name="connsiteX2" fmla="*/ 36166 w 512197"/>
                    <a:gd name="connsiteY2" fmla="*/ 24349 h 27748"/>
                    <a:gd name="connsiteX3" fmla="*/ 0 w 512197"/>
                    <a:gd name="connsiteY3" fmla="*/ 19989 h 27748"/>
                    <a:gd name="connsiteX4" fmla="*/ 45187 w 512197"/>
                    <a:gd name="connsiteY4" fmla="*/ 27749 h 27748"/>
                    <a:gd name="connsiteX5" fmla="*/ 449077 w 512197"/>
                    <a:gd name="connsiteY5" fmla="*/ 27749 h 27748"/>
                    <a:gd name="connsiteX6" fmla="*/ 512197 w 512197"/>
                    <a:gd name="connsiteY6" fmla="*/ 0 h 27748"/>
                    <a:gd name="connsiteX7" fmla="*/ 502326 w 512197"/>
                    <a:gd name="connsiteY7" fmla="*/ 0 h 27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12197" h="27748">
                      <a:moveTo>
                        <a:pt x="502299" y="0"/>
                      </a:moveTo>
                      <a:cubicBezTo>
                        <a:pt x="499392" y="9295"/>
                        <a:pt x="483544" y="24349"/>
                        <a:pt x="440056" y="24349"/>
                      </a:cubicBezTo>
                      <a:lnTo>
                        <a:pt x="36166" y="24349"/>
                      </a:lnTo>
                      <a:cubicBezTo>
                        <a:pt x="20565" y="24349"/>
                        <a:pt x="8829" y="22649"/>
                        <a:pt x="0" y="19989"/>
                      </a:cubicBezTo>
                      <a:cubicBezTo>
                        <a:pt x="9350" y="24349"/>
                        <a:pt x="23553" y="27749"/>
                        <a:pt x="45187" y="27749"/>
                      </a:cubicBezTo>
                      <a:lnTo>
                        <a:pt x="449077" y="27749"/>
                      </a:lnTo>
                      <a:cubicBezTo>
                        <a:pt x="505891" y="27749"/>
                        <a:pt x="512197" y="0"/>
                        <a:pt x="512197" y="0"/>
                      </a:cubicBezTo>
                      <a:lnTo>
                        <a:pt x="502326" y="0"/>
                      </a:lnTo>
                      <a:close/>
                    </a:path>
                  </a:pathLst>
                </a:custGeom>
                <a:solidFill>
                  <a:srgbClr val="D1D3D4"/>
                </a:solidFill>
                <a:ln w="27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829544">
                    <a:buClr>
                      <a:srgbClr val="000000"/>
                    </a:buClr>
                  </a:pPr>
                  <a:endParaRPr lang="en-US" sz="1270" kern="0" dirty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E233136B-0D1B-314F-3523-4ECAE623673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76387" y="4370971"/>
            <a:ext cx="2991133" cy="1734417"/>
          </a:xfrm>
          <a:prstGeom prst="rect">
            <a:avLst/>
          </a:prstGeom>
        </p:spPr>
      </p:pic>
      <p:grpSp>
        <p:nvGrpSpPr>
          <p:cNvPr id="78" name="Group 77">
            <a:extLst>
              <a:ext uri="{FF2B5EF4-FFF2-40B4-BE49-F238E27FC236}">
                <a16:creationId xmlns:a16="http://schemas.microsoft.com/office/drawing/2014/main" id="{A3DD6CEB-897C-9F38-42E2-7F5F3AF57B28}"/>
              </a:ext>
            </a:extLst>
          </p:cNvPr>
          <p:cNvGrpSpPr>
            <a:grpSpLocks/>
          </p:cNvGrpSpPr>
          <p:nvPr/>
        </p:nvGrpSpPr>
        <p:grpSpPr>
          <a:xfrm>
            <a:off x="6086446" y="3990337"/>
            <a:ext cx="703197" cy="703197"/>
            <a:chOff x="4887648" y="5202916"/>
            <a:chExt cx="503992" cy="503992"/>
          </a:xfrm>
        </p:grpSpPr>
        <p:sp>
          <p:nvSpPr>
            <p:cNvPr id="79" name="Google Shape;557;p30">
              <a:extLst>
                <a:ext uri="{FF2B5EF4-FFF2-40B4-BE49-F238E27FC236}">
                  <a16:creationId xmlns:a16="http://schemas.microsoft.com/office/drawing/2014/main" id="{D8D0F656-88CC-70C4-37CB-5A8075747795}"/>
                </a:ext>
              </a:extLst>
            </p:cNvPr>
            <p:cNvSpPr/>
            <p:nvPr/>
          </p:nvSpPr>
          <p:spPr>
            <a:xfrm>
              <a:off x="4887648" y="5202916"/>
              <a:ext cx="503992" cy="503992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4" tIns="45698" rIns="91424" bIns="45698" anchor="ctr" anchorCtr="0">
              <a:noAutofit/>
            </a:bodyPr>
            <a:lstStyle/>
            <a:p>
              <a:pPr algn="ctr" defTabSz="829544">
                <a:buClr>
                  <a:srgbClr val="000000"/>
                </a:buClr>
              </a:pPr>
              <a:endParaRPr sz="1452" kern="0" dirty="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0" name="Graphic 79">
              <a:extLst>
                <a:ext uri="{FF2B5EF4-FFF2-40B4-BE49-F238E27FC236}">
                  <a16:creationId xmlns:a16="http://schemas.microsoft.com/office/drawing/2014/main" id="{C0F9C85C-055E-690C-3F54-613038F2B6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999772" y="5321545"/>
              <a:ext cx="279745" cy="266734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0917193-F61A-B148-D49C-798467F088AA}"/>
              </a:ext>
            </a:extLst>
          </p:cNvPr>
          <p:cNvGrpSpPr>
            <a:grpSpLocks/>
          </p:cNvGrpSpPr>
          <p:nvPr/>
        </p:nvGrpSpPr>
        <p:grpSpPr>
          <a:xfrm>
            <a:off x="7397149" y="1685024"/>
            <a:ext cx="703197" cy="703197"/>
            <a:chOff x="4887648" y="5202916"/>
            <a:chExt cx="503992" cy="503992"/>
          </a:xfrm>
        </p:grpSpPr>
        <p:sp>
          <p:nvSpPr>
            <p:cNvPr id="69" name="Google Shape;557;p30">
              <a:extLst>
                <a:ext uri="{FF2B5EF4-FFF2-40B4-BE49-F238E27FC236}">
                  <a16:creationId xmlns:a16="http://schemas.microsoft.com/office/drawing/2014/main" id="{C3C61E8F-B61E-43CE-6C9D-B7CAD5908DA2}"/>
                </a:ext>
              </a:extLst>
            </p:cNvPr>
            <p:cNvSpPr/>
            <p:nvPr/>
          </p:nvSpPr>
          <p:spPr>
            <a:xfrm>
              <a:off x="4887648" y="5202916"/>
              <a:ext cx="503992" cy="503992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4" tIns="45698" rIns="91424" bIns="45698" anchor="ctr" anchorCtr="0">
              <a:noAutofit/>
            </a:bodyPr>
            <a:lstStyle/>
            <a:p>
              <a:pPr algn="ctr" defTabSz="829544">
                <a:buClr>
                  <a:srgbClr val="000000"/>
                </a:buClr>
              </a:pPr>
              <a:endParaRPr sz="1452" kern="0" dirty="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" name="Graphic 69">
              <a:extLst>
                <a:ext uri="{FF2B5EF4-FFF2-40B4-BE49-F238E27FC236}">
                  <a16:creationId xmlns:a16="http://schemas.microsoft.com/office/drawing/2014/main" id="{D29E85DB-8BB2-BFB6-AEA8-32F6E710DD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999772" y="5321545"/>
              <a:ext cx="279745" cy="2667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869176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BC3D5D9-A4E4-2A8B-3312-A86545505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3338514"/>
              </p:ext>
            </p:extLst>
          </p:nvPr>
        </p:nvGraphicFramePr>
        <p:xfrm>
          <a:off x="1441" y="153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BC3D5D9-A4E4-2A8B-3312-A86545505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41" y="153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4049970-A4FC-E703-56F8-F87E8EC94E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664"/>
            <a:ext cx="11089972" cy="443176"/>
          </a:xfrm>
        </p:spPr>
        <p:txBody>
          <a:bodyPr vert="horz"/>
          <a:lstStyle/>
          <a:p>
            <a:r>
              <a:rPr lang="en-US" dirty="0"/>
              <a:t>Web Scraping Tool for Second-Hand Car Sales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AA060237-E879-E368-4A4F-459E8A7B34E1}"/>
              </a:ext>
            </a:extLst>
          </p:cNvPr>
          <p:cNvSpPr>
            <a:spLocks/>
          </p:cNvSpPr>
          <p:nvPr/>
        </p:nvSpPr>
        <p:spPr>
          <a:xfrm flipH="1">
            <a:off x="10346988" y="560664"/>
            <a:ext cx="1845013" cy="886350"/>
          </a:xfrm>
          <a:prstGeom prst="homePlate">
            <a:avLst>
              <a:gd name="adj" fmla="val 1507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544">
              <a:buClr>
                <a:srgbClr val="000000"/>
              </a:buClr>
            </a:pPr>
            <a:endParaRPr lang="en-US" sz="1270" kern="0">
              <a:solidFill>
                <a:srgbClr val="FFFFFF"/>
              </a:solidFill>
              <a:latin typeface="Calibri" panose="020F0502020204030204"/>
              <a:sym typeface="Arial"/>
            </a:endParaRPr>
          </a:p>
        </p:txBody>
      </p:sp>
      <p:pic>
        <p:nvPicPr>
          <p:cNvPr id="7" name="Google Shape;547;p30">
            <a:extLst>
              <a:ext uri="{FF2B5EF4-FFF2-40B4-BE49-F238E27FC236}">
                <a16:creationId xmlns:a16="http://schemas.microsoft.com/office/drawing/2014/main" id="{14EEBC35-7C75-CC36-C151-1C15D60622D3}"/>
              </a:ext>
            </a:extLst>
          </p:cNvPr>
          <p:cNvPicPr preferRelativeResize="0"/>
          <p:nvPr/>
        </p:nvPicPr>
        <p:blipFill rotWithShape="1">
          <a:blip r:embed="rId5" cstate="print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9711" y="615062"/>
            <a:ext cx="861050" cy="77755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831;p25">
            <a:extLst>
              <a:ext uri="{FF2B5EF4-FFF2-40B4-BE49-F238E27FC236}">
                <a16:creationId xmlns:a16="http://schemas.microsoft.com/office/drawing/2014/main" id="{437CDCD2-62E1-68A0-3BC4-ABE11E06E204}"/>
              </a:ext>
            </a:extLst>
          </p:cNvPr>
          <p:cNvSpPr>
            <a:spLocks/>
          </p:cNvSpPr>
          <p:nvPr/>
        </p:nvSpPr>
        <p:spPr>
          <a:xfrm>
            <a:off x="499720" y="2096784"/>
            <a:ext cx="3654893" cy="4238366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30631" tIns="163288" rIns="130631" bIns="163288" anchor="t" anchorCtr="0">
            <a:noAutofit/>
          </a:bodyPr>
          <a:lstStyle/>
          <a:p>
            <a:pPr algn="ctr" defTabSz="829544">
              <a:lnSpc>
                <a:spcPct val="130769"/>
              </a:lnSpc>
              <a:buClr>
                <a:srgbClr val="00B9FF"/>
              </a:buClr>
              <a:buSzPts val="1300"/>
            </a:pPr>
            <a:endParaRPr lang="en-US" sz="127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Google Shape;831;p25">
            <a:extLst>
              <a:ext uri="{FF2B5EF4-FFF2-40B4-BE49-F238E27FC236}">
                <a16:creationId xmlns:a16="http://schemas.microsoft.com/office/drawing/2014/main" id="{4BAA93C5-308E-A007-113A-B5C8467384B7}"/>
              </a:ext>
            </a:extLst>
          </p:cNvPr>
          <p:cNvSpPr>
            <a:spLocks/>
          </p:cNvSpPr>
          <p:nvPr/>
        </p:nvSpPr>
        <p:spPr>
          <a:xfrm>
            <a:off x="8035681" y="2096784"/>
            <a:ext cx="3654893" cy="4238366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30631" tIns="163288" rIns="130631" bIns="163288" anchor="t" anchorCtr="0">
            <a:noAutofit/>
          </a:bodyPr>
          <a:lstStyle/>
          <a:p>
            <a:pPr algn="ctr" defTabSz="829544">
              <a:lnSpc>
                <a:spcPct val="130769"/>
              </a:lnSpc>
              <a:buClr>
                <a:srgbClr val="00B9FF"/>
              </a:buClr>
              <a:buSzPts val="1300"/>
            </a:pPr>
            <a:endParaRPr sz="127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Google Shape;831;p25">
            <a:extLst>
              <a:ext uri="{FF2B5EF4-FFF2-40B4-BE49-F238E27FC236}">
                <a16:creationId xmlns:a16="http://schemas.microsoft.com/office/drawing/2014/main" id="{A0F3F831-A8B3-37F3-2E13-D75807978594}"/>
              </a:ext>
            </a:extLst>
          </p:cNvPr>
          <p:cNvSpPr>
            <a:spLocks/>
          </p:cNvSpPr>
          <p:nvPr/>
        </p:nvSpPr>
        <p:spPr>
          <a:xfrm>
            <a:off x="4267701" y="2096784"/>
            <a:ext cx="3654893" cy="4238366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30631" tIns="163288" rIns="130631" bIns="163288" anchor="t" anchorCtr="0">
            <a:noAutofit/>
          </a:bodyPr>
          <a:lstStyle/>
          <a:p>
            <a:pPr algn="ctr" defTabSz="829544">
              <a:lnSpc>
                <a:spcPct val="130769"/>
              </a:lnSpc>
              <a:buClr>
                <a:srgbClr val="00B9FF"/>
              </a:buClr>
              <a:buSzPts val="1300"/>
            </a:pPr>
            <a:endParaRPr sz="127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" name="Google Shape;563;p30">
            <a:extLst>
              <a:ext uri="{FF2B5EF4-FFF2-40B4-BE49-F238E27FC236}">
                <a16:creationId xmlns:a16="http://schemas.microsoft.com/office/drawing/2014/main" id="{774AD125-EE4E-CA2E-479B-E3DEF47E72E6}"/>
              </a:ext>
            </a:extLst>
          </p:cNvPr>
          <p:cNvSpPr txBox="1">
            <a:spLocks/>
          </p:cNvSpPr>
          <p:nvPr/>
        </p:nvSpPr>
        <p:spPr>
          <a:xfrm>
            <a:off x="8177188" y="2479633"/>
            <a:ext cx="3412738" cy="36552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829544">
              <a:lnSpc>
                <a:spcPts val="1633"/>
              </a:lnSpc>
              <a:buClr>
                <a:srgbClr val="00B9FF"/>
              </a:buClr>
              <a:buSzPct val="100000"/>
            </a:pPr>
            <a:r>
              <a:rPr lang="en-US" sz="1452" kern="0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client benefited from Infomineo Data Analytics service on multiple fronts: </a:t>
            </a:r>
          </a:p>
          <a:p>
            <a:pPr marL="157613" indent="-157613" defTabSz="829544">
              <a:lnSpc>
                <a:spcPts val="1633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endParaRPr lang="en-US" sz="1452" b="1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57613" indent="-157613" defTabSz="829544">
              <a:lnSpc>
                <a:spcPts val="1633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52" b="1" kern="0" dirty="0">
                <a:solidFill>
                  <a:srgbClr val="00B9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Comprehensive Web Scraping Tool</a:t>
            </a:r>
          </a:p>
          <a:p>
            <a:pPr defTabSz="829544">
              <a:lnSpc>
                <a:spcPts val="1633"/>
              </a:lnSpc>
              <a:buClr>
                <a:srgbClr val="00B9FF"/>
              </a:buClr>
              <a:buSzPct val="100000"/>
            </a:pPr>
            <a:r>
              <a:rPr lang="en-US" sz="127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client received a user-friendly web scraping tool equipped with a user interface, enabling tailored requesting.</a:t>
            </a:r>
          </a:p>
          <a:p>
            <a:pPr marL="157613" indent="-157613" defTabSz="829544">
              <a:lnSpc>
                <a:spcPts val="1633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endParaRPr lang="en-US" sz="1270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57613" indent="-157613" defTabSz="829544">
              <a:lnSpc>
                <a:spcPts val="1633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52" b="1" kern="0" dirty="0">
                <a:solidFill>
                  <a:srgbClr val="00B9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Expanded Data Extraction Capabilities</a:t>
            </a:r>
          </a:p>
          <a:p>
            <a:pPr defTabSz="829544">
              <a:lnSpc>
                <a:spcPts val="1633"/>
              </a:lnSpc>
              <a:buClr>
                <a:srgbClr val="00B9FF"/>
              </a:buClr>
              <a:buSzPct val="100000"/>
            </a:pPr>
            <a:r>
              <a:rPr lang="en-US" sz="127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Datasets were created from the e-commerce platform across various cities and categories, enhancing data extraction capabilities.</a:t>
            </a:r>
          </a:p>
          <a:p>
            <a:pPr marL="157613" indent="-157613" defTabSz="829544">
              <a:lnSpc>
                <a:spcPts val="1633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endParaRPr lang="en-US" sz="1270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57613" indent="-157613" defTabSz="829544">
              <a:lnSpc>
                <a:spcPts val="1633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52" b="1" kern="0" dirty="0">
                <a:solidFill>
                  <a:srgbClr val="00B9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ime and Resource Savings</a:t>
            </a:r>
          </a:p>
          <a:p>
            <a:pPr defTabSz="829544">
              <a:lnSpc>
                <a:spcPts val="1633"/>
              </a:lnSpc>
              <a:buClr>
                <a:srgbClr val="00B9FF"/>
              </a:buClr>
              <a:buSzPct val="100000"/>
            </a:pPr>
            <a:r>
              <a:rPr lang="en-US" sz="127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client achieved significant time efficiency in the data collection process, resulting in resource savings.</a:t>
            </a:r>
          </a:p>
          <a:p>
            <a:pPr marL="157613" indent="-157613" defTabSz="829544">
              <a:lnSpc>
                <a:spcPts val="1633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endParaRPr lang="en-US" sz="1270" b="1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57613" indent="-157613" defTabSz="829544">
              <a:lnSpc>
                <a:spcPts val="1633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endParaRPr lang="en-US" sz="1270" b="1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57613" indent="-157613" defTabSz="829544">
              <a:lnSpc>
                <a:spcPts val="1633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endParaRPr lang="en-US" sz="1270" b="1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57613" indent="-157613" defTabSz="829544">
              <a:lnSpc>
                <a:spcPts val="1633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endParaRPr lang="en-US" sz="1270" b="1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57613" indent="-157613" defTabSz="829544">
              <a:lnSpc>
                <a:spcPts val="1633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endParaRPr lang="en-US" sz="1270" b="1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543;p30">
            <a:extLst>
              <a:ext uri="{FF2B5EF4-FFF2-40B4-BE49-F238E27FC236}">
                <a16:creationId xmlns:a16="http://schemas.microsoft.com/office/drawing/2014/main" id="{623E9CDE-389C-AC3E-0413-2E079F26F6B7}"/>
              </a:ext>
            </a:extLst>
          </p:cNvPr>
          <p:cNvSpPr txBox="1">
            <a:spLocks/>
          </p:cNvSpPr>
          <p:nvPr/>
        </p:nvSpPr>
        <p:spPr>
          <a:xfrm>
            <a:off x="726905" y="2479633"/>
            <a:ext cx="3331275" cy="1641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829544">
              <a:lnSpc>
                <a:spcPts val="1633"/>
              </a:lnSpc>
              <a:buClr>
                <a:srgbClr val="000000"/>
              </a:buClr>
            </a:pPr>
            <a:r>
              <a:rPr lang="en-US" sz="1452" kern="0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o analyze the secondhand automobile market in Morocco the client needed access to relevant and accurate data. </a:t>
            </a:r>
          </a:p>
          <a:p>
            <a:pPr defTabSz="829544">
              <a:lnSpc>
                <a:spcPts val="1633"/>
              </a:lnSpc>
              <a:buClr>
                <a:srgbClr val="000000"/>
              </a:buClr>
            </a:pPr>
            <a:endParaRPr lang="en-US" sz="1452" kern="0" dirty="0">
              <a:solidFill>
                <a:srgbClr val="444444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defTabSz="829544">
              <a:lnSpc>
                <a:spcPts val="1633"/>
              </a:lnSpc>
              <a:buClr>
                <a:srgbClr val="000000"/>
              </a:buClr>
            </a:pPr>
            <a:r>
              <a:rPr lang="en-US" sz="1452" kern="0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client chose to use data of the country’s leading </a:t>
            </a:r>
            <a:r>
              <a:rPr lang="en-US" sz="1452" kern="0" dirty="0" err="1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C2C</a:t>
            </a:r>
            <a:r>
              <a:rPr lang="en-US" sz="1452" kern="0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 e-commerce platform.</a:t>
            </a:r>
          </a:p>
          <a:p>
            <a:pPr defTabSz="829544">
              <a:lnSpc>
                <a:spcPts val="1633"/>
              </a:lnSpc>
              <a:buClr>
                <a:srgbClr val="000000"/>
              </a:buClr>
            </a:pPr>
            <a:endParaRPr lang="en-US" sz="1452" kern="0" dirty="0">
              <a:solidFill>
                <a:srgbClr val="444444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defTabSz="829544">
              <a:lnSpc>
                <a:spcPts val="1633"/>
              </a:lnSpc>
              <a:buClr>
                <a:srgbClr val="000000"/>
              </a:buClr>
            </a:pPr>
            <a:r>
              <a:rPr lang="en-US" sz="1452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firm was looking for: </a:t>
            </a:r>
            <a:endParaRPr lang="en-US" sz="1452" kern="0" dirty="0">
              <a:solidFill>
                <a:srgbClr val="444444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565;p30">
            <a:extLst>
              <a:ext uri="{FF2B5EF4-FFF2-40B4-BE49-F238E27FC236}">
                <a16:creationId xmlns:a16="http://schemas.microsoft.com/office/drawing/2014/main" id="{7A6AC40E-0552-398A-D202-6FAF5E960267}"/>
              </a:ext>
            </a:extLst>
          </p:cNvPr>
          <p:cNvSpPr txBox="1">
            <a:spLocks/>
          </p:cNvSpPr>
          <p:nvPr/>
        </p:nvSpPr>
        <p:spPr>
          <a:xfrm>
            <a:off x="4393025" y="2479633"/>
            <a:ext cx="3427709" cy="6546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829544">
              <a:lnSpc>
                <a:spcPts val="1633"/>
              </a:lnSpc>
              <a:buClr>
                <a:srgbClr val="000000"/>
              </a:buClr>
            </a:pPr>
            <a:r>
              <a:rPr lang="en-US" sz="1452" kern="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Infomineo’ s Data Analytics team addressed the client’s challenges by developing :</a:t>
            </a:r>
          </a:p>
        </p:txBody>
      </p:sp>
      <p:sp>
        <p:nvSpPr>
          <p:cNvPr id="14" name="Google Shape;540;p30">
            <a:extLst>
              <a:ext uri="{FF2B5EF4-FFF2-40B4-BE49-F238E27FC236}">
                <a16:creationId xmlns:a16="http://schemas.microsoft.com/office/drawing/2014/main" id="{B2AE7E99-5152-2E43-E2A1-5244A380D08C}"/>
              </a:ext>
            </a:extLst>
          </p:cNvPr>
          <p:cNvSpPr>
            <a:spLocks/>
          </p:cNvSpPr>
          <p:nvPr/>
        </p:nvSpPr>
        <p:spPr>
          <a:xfrm>
            <a:off x="8025868" y="1687935"/>
            <a:ext cx="3654893" cy="71386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algn="ctr" defTabSz="829544">
              <a:buClr>
                <a:srgbClr val="000000"/>
              </a:buClr>
            </a:pPr>
            <a:endParaRPr sz="2053" b="1" kern="0">
              <a:solidFill>
                <a:srgbClr val="FFFFFF"/>
              </a:solidFill>
              <a:highlight>
                <a:srgbClr val="FFFF00"/>
              </a:highlight>
              <a:latin typeface="Arial"/>
              <a:cs typeface="Arial"/>
              <a:sym typeface="Arial"/>
            </a:endParaRPr>
          </a:p>
        </p:txBody>
      </p:sp>
      <p:sp>
        <p:nvSpPr>
          <p:cNvPr id="16" name="Google Shape;545;p30">
            <a:extLst>
              <a:ext uri="{FF2B5EF4-FFF2-40B4-BE49-F238E27FC236}">
                <a16:creationId xmlns:a16="http://schemas.microsoft.com/office/drawing/2014/main" id="{DE14FC74-4454-A0A2-3631-8F1ABE5F08E4}"/>
              </a:ext>
            </a:extLst>
          </p:cNvPr>
          <p:cNvSpPr>
            <a:spLocks/>
          </p:cNvSpPr>
          <p:nvPr/>
        </p:nvSpPr>
        <p:spPr>
          <a:xfrm>
            <a:off x="499720" y="1685023"/>
            <a:ext cx="3654893" cy="716872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algn="ctr" defTabSz="829544">
              <a:buClr>
                <a:srgbClr val="000000"/>
              </a:buClr>
            </a:pPr>
            <a:endParaRPr sz="1401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0DE3B1A-0309-7790-11AB-E1A2BDE6DD4B}"/>
              </a:ext>
            </a:extLst>
          </p:cNvPr>
          <p:cNvGrpSpPr/>
          <p:nvPr/>
        </p:nvGrpSpPr>
        <p:grpSpPr>
          <a:xfrm>
            <a:off x="3465991" y="1746794"/>
            <a:ext cx="592190" cy="593331"/>
            <a:chOff x="3416568" y="1395569"/>
            <a:chExt cx="955760" cy="957600"/>
          </a:xfrm>
        </p:grpSpPr>
        <p:sp>
          <p:nvSpPr>
            <p:cNvPr id="19" name="Google Shape;551;p30">
              <a:extLst>
                <a:ext uri="{FF2B5EF4-FFF2-40B4-BE49-F238E27FC236}">
                  <a16:creationId xmlns:a16="http://schemas.microsoft.com/office/drawing/2014/main" id="{09DAD9EB-FACD-11F1-81A0-91BECBBB7ABE}"/>
                </a:ext>
              </a:extLst>
            </p:cNvPr>
            <p:cNvSpPr/>
            <p:nvPr/>
          </p:nvSpPr>
          <p:spPr>
            <a:xfrm>
              <a:off x="3416568" y="1395569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4" tIns="45698" rIns="91424" bIns="45698" anchor="ctr" anchorCtr="0">
              <a:noAutofit/>
            </a:bodyPr>
            <a:lstStyle/>
            <a:p>
              <a:pPr algn="ctr" defTabSz="829544">
                <a:buClr>
                  <a:srgbClr val="000000"/>
                </a:buClr>
              </a:pPr>
              <a:endParaRPr sz="1401" kern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  <p:pic>
          <p:nvPicPr>
            <p:cNvPr id="20" name="Google Shape;552;p30">
              <a:extLst>
                <a:ext uri="{FF2B5EF4-FFF2-40B4-BE49-F238E27FC236}">
                  <a16:creationId xmlns:a16="http://schemas.microsoft.com/office/drawing/2014/main" id="{2ADA25A6-55BB-375C-3FBC-0D3A1967BAA7}"/>
                </a:ext>
              </a:extLst>
            </p:cNvPr>
            <p:cNvPicPr preferRelativeResize="0"/>
            <p:nvPr/>
          </p:nvPicPr>
          <p:blipFill rotWithShape="1">
            <a:blip r:embed="rId7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568608" y="1548529"/>
              <a:ext cx="651681" cy="6516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1" name="Google Shape;566;p30">
            <a:extLst>
              <a:ext uri="{FF2B5EF4-FFF2-40B4-BE49-F238E27FC236}">
                <a16:creationId xmlns:a16="http://schemas.microsoft.com/office/drawing/2014/main" id="{CFF90EF1-108A-552A-987E-AAB081B8A93D}"/>
              </a:ext>
            </a:extLst>
          </p:cNvPr>
          <p:cNvSpPr>
            <a:spLocks/>
          </p:cNvSpPr>
          <p:nvPr/>
        </p:nvSpPr>
        <p:spPr>
          <a:xfrm>
            <a:off x="4262794" y="1685023"/>
            <a:ext cx="3654893" cy="716872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algn="ctr" defTabSz="829544">
              <a:buClr>
                <a:srgbClr val="000000"/>
              </a:buClr>
            </a:pPr>
            <a:endParaRPr sz="1597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58CF39B-A9E8-096B-A98F-6B8BDC120665}"/>
              </a:ext>
            </a:extLst>
          </p:cNvPr>
          <p:cNvGrpSpPr/>
          <p:nvPr/>
        </p:nvGrpSpPr>
        <p:grpSpPr>
          <a:xfrm>
            <a:off x="7222958" y="1746794"/>
            <a:ext cx="592190" cy="593331"/>
            <a:chOff x="7762572" y="1395569"/>
            <a:chExt cx="955760" cy="957600"/>
          </a:xfrm>
        </p:grpSpPr>
        <p:sp>
          <p:nvSpPr>
            <p:cNvPr id="24" name="Google Shape;568;p30">
              <a:extLst>
                <a:ext uri="{FF2B5EF4-FFF2-40B4-BE49-F238E27FC236}">
                  <a16:creationId xmlns:a16="http://schemas.microsoft.com/office/drawing/2014/main" id="{B888F0DF-C8E7-C5C4-4B74-B13C37E69855}"/>
                </a:ext>
              </a:extLst>
            </p:cNvPr>
            <p:cNvSpPr/>
            <p:nvPr/>
          </p:nvSpPr>
          <p:spPr>
            <a:xfrm>
              <a:off x="7762572" y="1395569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4" tIns="45698" rIns="91424" bIns="45698" anchor="ctr" anchorCtr="0">
              <a:noAutofit/>
            </a:bodyPr>
            <a:lstStyle/>
            <a:p>
              <a:pPr algn="ctr" defTabSz="829544">
                <a:buClr>
                  <a:srgbClr val="000000"/>
                </a:buClr>
              </a:pPr>
              <a:endParaRPr sz="1597" kern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  <p:pic>
          <p:nvPicPr>
            <p:cNvPr id="25" name="Google Shape;569;p30">
              <a:extLst>
                <a:ext uri="{FF2B5EF4-FFF2-40B4-BE49-F238E27FC236}">
                  <a16:creationId xmlns:a16="http://schemas.microsoft.com/office/drawing/2014/main" id="{A1410139-8304-D436-8B99-717601F526CA}"/>
                </a:ext>
              </a:extLst>
            </p:cNvPr>
            <p:cNvPicPr preferRelativeResize="0"/>
            <p:nvPr/>
          </p:nvPicPr>
          <p:blipFill rotWithShape="1">
            <a:blip r:embed="rId8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09107" y="1543024"/>
              <a:ext cx="662691" cy="66269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FB3134A-BF84-6564-36D8-3F0E0D1E8998}"/>
              </a:ext>
            </a:extLst>
          </p:cNvPr>
          <p:cNvGrpSpPr/>
          <p:nvPr/>
        </p:nvGrpSpPr>
        <p:grpSpPr>
          <a:xfrm>
            <a:off x="10997736" y="1746794"/>
            <a:ext cx="592190" cy="593331"/>
            <a:chOff x="12019931" y="1366765"/>
            <a:chExt cx="955760" cy="957600"/>
          </a:xfrm>
        </p:grpSpPr>
        <p:sp>
          <p:nvSpPr>
            <p:cNvPr id="27" name="Google Shape;583;p30">
              <a:extLst>
                <a:ext uri="{FF2B5EF4-FFF2-40B4-BE49-F238E27FC236}">
                  <a16:creationId xmlns:a16="http://schemas.microsoft.com/office/drawing/2014/main" id="{D3CC03A4-60C0-F0F8-DFCA-32F9B9F64F55}"/>
                </a:ext>
              </a:extLst>
            </p:cNvPr>
            <p:cNvSpPr/>
            <p:nvPr/>
          </p:nvSpPr>
          <p:spPr>
            <a:xfrm>
              <a:off x="12019931" y="1366765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4" tIns="45698" rIns="91424" bIns="45698" anchor="ctr" anchorCtr="0">
              <a:noAutofit/>
            </a:bodyPr>
            <a:lstStyle/>
            <a:p>
              <a:pPr algn="ctr" defTabSz="829544">
                <a:buClr>
                  <a:srgbClr val="000000"/>
                </a:buClr>
              </a:pPr>
              <a:endParaRPr sz="1401" kern="0">
                <a:solidFill>
                  <a:srgbClr val="FFFFFF"/>
                </a:solidFill>
                <a:highlight>
                  <a:srgbClr val="FFFF00"/>
                </a:highlight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28" name="Google Shape;584;p30">
              <a:extLst>
                <a:ext uri="{FF2B5EF4-FFF2-40B4-BE49-F238E27FC236}">
                  <a16:creationId xmlns:a16="http://schemas.microsoft.com/office/drawing/2014/main" id="{4DDEBE46-120B-C78E-737B-72E758847E55}"/>
                </a:ext>
              </a:extLst>
            </p:cNvPr>
            <p:cNvGrpSpPr/>
            <p:nvPr/>
          </p:nvGrpSpPr>
          <p:grpSpPr>
            <a:xfrm>
              <a:off x="12226115" y="1593618"/>
              <a:ext cx="543392" cy="503895"/>
              <a:chOff x="10915170" y="2075424"/>
              <a:chExt cx="432288" cy="400866"/>
            </a:xfrm>
          </p:grpSpPr>
          <p:sp>
            <p:nvSpPr>
              <p:cNvPr id="29" name="Google Shape;585;p30">
                <a:extLst>
                  <a:ext uri="{FF2B5EF4-FFF2-40B4-BE49-F238E27FC236}">
                    <a16:creationId xmlns:a16="http://schemas.microsoft.com/office/drawing/2014/main" id="{37CF0385-F04F-6170-5C0E-9A692BB40773}"/>
                  </a:ext>
                </a:extLst>
              </p:cNvPr>
              <p:cNvSpPr/>
              <p:nvPr/>
            </p:nvSpPr>
            <p:spPr>
              <a:xfrm>
                <a:off x="10915170" y="2075424"/>
                <a:ext cx="432288" cy="400866"/>
              </a:xfrm>
              <a:custGeom>
                <a:avLst/>
                <a:gdLst/>
                <a:ahLst/>
                <a:cxnLst/>
                <a:rect l="l" t="t" r="r" b="b"/>
                <a:pathLst>
                  <a:path w="840" h="806" extrusionOk="0">
                    <a:moveTo>
                      <a:pt x="831" y="80"/>
                    </a:moveTo>
                    <a:cubicBezTo>
                      <a:pt x="114" y="80"/>
                      <a:pt x="114" y="80"/>
                      <a:pt x="114" y="80"/>
                    </a:cubicBezTo>
                    <a:cubicBezTo>
                      <a:pt x="114" y="8"/>
                      <a:pt x="114" y="8"/>
                      <a:pt x="114" y="8"/>
                    </a:cubicBezTo>
                    <a:cubicBezTo>
                      <a:pt x="114" y="4"/>
                      <a:pt x="110" y="0"/>
                      <a:pt x="105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25" y="0"/>
                      <a:pt x="0" y="25"/>
                      <a:pt x="0" y="57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0" y="780"/>
                      <a:pt x="25" y="806"/>
                      <a:pt x="57" y="806"/>
                    </a:cubicBezTo>
                    <a:cubicBezTo>
                      <a:pt x="95" y="806"/>
                      <a:pt x="95" y="806"/>
                      <a:pt x="95" y="806"/>
                    </a:cubicBezTo>
                    <a:cubicBezTo>
                      <a:pt x="105" y="806"/>
                      <a:pt x="105" y="806"/>
                      <a:pt x="105" y="806"/>
                    </a:cubicBezTo>
                    <a:cubicBezTo>
                      <a:pt x="831" y="806"/>
                      <a:pt x="831" y="806"/>
                      <a:pt x="831" y="806"/>
                    </a:cubicBezTo>
                    <a:cubicBezTo>
                      <a:pt x="836" y="806"/>
                      <a:pt x="840" y="802"/>
                      <a:pt x="840" y="797"/>
                    </a:cubicBezTo>
                    <a:cubicBezTo>
                      <a:pt x="840" y="89"/>
                      <a:pt x="840" y="89"/>
                      <a:pt x="840" y="89"/>
                    </a:cubicBezTo>
                    <a:cubicBezTo>
                      <a:pt x="840" y="84"/>
                      <a:pt x="836" y="80"/>
                      <a:pt x="831" y="80"/>
                    </a:cubicBezTo>
                    <a:close/>
                    <a:moveTo>
                      <a:pt x="57" y="17"/>
                    </a:moveTo>
                    <a:cubicBezTo>
                      <a:pt x="97" y="17"/>
                      <a:pt x="97" y="17"/>
                      <a:pt x="97" y="17"/>
                    </a:cubicBezTo>
                    <a:cubicBezTo>
                      <a:pt x="97" y="692"/>
                      <a:pt x="97" y="692"/>
                      <a:pt x="97" y="692"/>
                    </a:cubicBezTo>
                    <a:cubicBezTo>
                      <a:pt x="57" y="692"/>
                      <a:pt x="57" y="692"/>
                      <a:pt x="57" y="692"/>
                    </a:cubicBezTo>
                    <a:cubicBezTo>
                      <a:pt x="41" y="692"/>
                      <a:pt x="27" y="698"/>
                      <a:pt x="17" y="70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35"/>
                      <a:pt x="35" y="17"/>
                      <a:pt x="57" y="17"/>
                    </a:cubicBezTo>
                    <a:close/>
                    <a:moveTo>
                      <a:pt x="823" y="788"/>
                    </a:moveTo>
                    <a:cubicBezTo>
                      <a:pt x="105" y="788"/>
                      <a:pt x="105" y="788"/>
                      <a:pt x="105" y="788"/>
                    </a:cubicBezTo>
                    <a:cubicBezTo>
                      <a:pt x="95" y="788"/>
                      <a:pt x="95" y="788"/>
                      <a:pt x="95" y="788"/>
                    </a:cubicBezTo>
                    <a:cubicBezTo>
                      <a:pt x="57" y="788"/>
                      <a:pt x="57" y="788"/>
                      <a:pt x="57" y="788"/>
                    </a:cubicBezTo>
                    <a:cubicBezTo>
                      <a:pt x="35" y="788"/>
                      <a:pt x="17" y="771"/>
                      <a:pt x="17" y="749"/>
                    </a:cubicBezTo>
                    <a:cubicBezTo>
                      <a:pt x="17" y="727"/>
                      <a:pt x="35" y="709"/>
                      <a:pt x="57" y="709"/>
                    </a:cubicBezTo>
                    <a:cubicBezTo>
                      <a:pt x="105" y="709"/>
                      <a:pt x="105" y="709"/>
                      <a:pt x="105" y="709"/>
                    </a:cubicBezTo>
                    <a:cubicBezTo>
                      <a:pt x="110" y="709"/>
                      <a:pt x="114" y="705"/>
                      <a:pt x="114" y="700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823" y="98"/>
                      <a:pt x="823" y="98"/>
                      <a:pt x="823" y="98"/>
                    </a:cubicBezTo>
                    <a:lnTo>
                      <a:pt x="823" y="788"/>
                    </a:lnTo>
                    <a:close/>
                  </a:path>
                </a:pathLst>
              </a:custGeom>
              <a:noFill/>
              <a:ln w="63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4" tIns="45698" rIns="91424" bIns="45698" anchor="t" anchorCtr="0">
                <a:noAutofit/>
              </a:bodyPr>
              <a:lstStyle/>
              <a:p>
                <a:pPr defTabSz="829544">
                  <a:buClr>
                    <a:srgbClr val="000000"/>
                  </a:buClr>
                </a:pPr>
                <a:endParaRPr sz="1801" kern="0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" name="Google Shape;586;p30">
                <a:extLst>
                  <a:ext uri="{FF2B5EF4-FFF2-40B4-BE49-F238E27FC236}">
                    <a16:creationId xmlns:a16="http://schemas.microsoft.com/office/drawing/2014/main" id="{CC271DE2-2D86-0B4A-591F-DD3BD6AE75F1}"/>
                  </a:ext>
                </a:extLst>
              </p:cNvPr>
              <p:cNvSpPr/>
              <p:nvPr/>
            </p:nvSpPr>
            <p:spPr>
              <a:xfrm>
                <a:off x="11005647" y="2167089"/>
                <a:ext cx="282550" cy="266407"/>
              </a:xfrm>
              <a:custGeom>
                <a:avLst/>
                <a:gdLst/>
                <a:ahLst/>
                <a:cxnLst/>
                <a:rect l="l" t="t" r="r" b="b"/>
                <a:pathLst>
                  <a:path w="549" h="537" extrusionOk="0">
                    <a:moveTo>
                      <a:pt x="4" y="226"/>
                    </a:moveTo>
                    <a:cubicBezTo>
                      <a:pt x="71" y="293"/>
                      <a:pt x="71" y="293"/>
                      <a:pt x="71" y="293"/>
                    </a:cubicBezTo>
                    <a:cubicBezTo>
                      <a:pt x="73" y="295"/>
                      <a:pt x="75" y="296"/>
                      <a:pt x="77" y="296"/>
                    </a:cubicBezTo>
                    <a:cubicBezTo>
                      <a:pt x="79" y="296"/>
                      <a:pt x="81" y="295"/>
                      <a:pt x="83" y="293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295" y="229"/>
                      <a:pt x="295" y="229"/>
                      <a:pt x="295" y="229"/>
                    </a:cubicBezTo>
                    <a:cubicBezTo>
                      <a:pt x="437" y="229"/>
                      <a:pt x="437" y="229"/>
                      <a:pt x="437" y="229"/>
                    </a:cubicBezTo>
                    <a:cubicBezTo>
                      <a:pt x="437" y="268"/>
                      <a:pt x="437" y="268"/>
                      <a:pt x="437" y="268"/>
                    </a:cubicBezTo>
                    <a:cubicBezTo>
                      <a:pt x="437" y="272"/>
                      <a:pt x="441" y="276"/>
                      <a:pt x="446" y="276"/>
                    </a:cubicBezTo>
                    <a:cubicBezTo>
                      <a:pt x="484" y="276"/>
                      <a:pt x="484" y="276"/>
                      <a:pt x="484" y="276"/>
                    </a:cubicBezTo>
                    <a:cubicBezTo>
                      <a:pt x="484" y="418"/>
                      <a:pt x="484" y="418"/>
                      <a:pt x="484" y="418"/>
                    </a:cubicBezTo>
                    <a:cubicBezTo>
                      <a:pt x="460" y="422"/>
                      <a:pt x="442" y="441"/>
                      <a:pt x="438" y="465"/>
                    </a:cubicBezTo>
                    <a:cubicBezTo>
                      <a:pt x="116" y="465"/>
                      <a:pt x="116" y="465"/>
                      <a:pt x="116" y="465"/>
                    </a:cubicBezTo>
                    <a:cubicBezTo>
                      <a:pt x="116" y="419"/>
                      <a:pt x="116" y="419"/>
                      <a:pt x="116" y="419"/>
                    </a:cubicBezTo>
                    <a:cubicBezTo>
                      <a:pt x="116" y="416"/>
                      <a:pt x="115" y="413"/>
                      <a:pt x="112" y="411"/>
                    </a:cubicBezTo>
                    <a:cubicBezTo>
                      <a:pt x="110" y="410"/>
                      <a:pt x="106" y="410"/>
                      <a:pt x="104" y="411"/>
                    </a:cubicBezTo>
                    <a:cubicBezTo>
                      <a:pt x="9" y="466"/>
                      <a:pt x="9" y="466"/>
                      <a:pt x="9" y="466"/>
                    </a:cubicBezTo>
                    <a:cubicBezTo>
                      <a:pt x="6" y="468"/>
                      <a:pt x="5" y="470"/>
                      <a:pt x="5" y="474"/>
                    </a:cubicBezTo>
                    <a:cubicBezTo>
                      <a:pt x="5" y="477"/>
                      <a:pt x="6" y="479"/>
                      <a:pt x="9" y="481"/>
                    </a:cubicBezTo>
                    <a:cubicBezTo>
                      <a:pt x="104" y="536"/>
                      <a:pt x="104" y="536"/>
                      <a:pt x="104" y="536"/>
                    </a:cubicBezTo>
                    <a:cubicBezTo>
                      <a:pt x="105" y="536"/>
                      <a:pt x="106" y="537"/>
                      <a:pt x="108" y="537"/>
                    </a:cubicBezTo>
                    <a:cubicBezTo>
                      <a:pt x="109" y="537"/>
                      <a:pt x="111" y="536"/>
                      <a:pt x="112" y="536"/>
                    </a:cubicBezTo>
                    <a:cubicBezTo>
                      <a:pt x="115" y="534"/>
                      <a:pt x="116" y="531"/>
                      <a:pt x="116" y="528"/>
                    </a:cubicBezTo>
                    <a:cubicBezTo>
                      <a:pt x="116" y="482"/>
                      <a:pt x="116" y="482"/>
                      <a:pt x="116" y="482"/>
                    </a:cubicBezTo>
                    <a:cubicBezTo>
                      <a:pt x="438" y="482"/>
                      <a:pt x="438" y="482"/>
                      <a:pt x="438" y="482"/>
                    </a:cubicBezTo>
                    <a:cubicBezTo>
                      <a:pt x="442" y="509"/>
                      <a:pt x="465" y="530"/>
                      <a:pt x="493" y="530"/>
                    </a:cubicBezTo>
                    <a:cubicBezTo>
                      <a:pt x="524" y="530"/>
                      <a:pt x="549" y="504"/>
                      <a:pt x="549" y="474"/>
                    </a:cubicBezTo>
                    <a:cubicBezTo>
                      <a:pt x="549" y="446"/>
                      <a:pt x="528" y="423"/>
                      <a:pt x="502" y="418"/>
                    </a:cubicBezTo>
                    <a:cubicBezTo>
                      <a:pt x="502" y="276"/>
                      <a:pt x="502" y="276"/>
                      <a:pt x="502" y="276"/>
                    </a:cubicBezTo>
                    <a:cubicBezTo>
                      <a:pt x="540" y="276"/>
                      <a:pt x="540" y="276"/>
                      <a:pt x="540" y="276"/>
                    </a:cubicBezTo>
                    <a:cubicBezTo>
                      <a:pt x="545" y="276"/>
                      <a:pt x="549" y="272"/>
                      <a:pt x="549" y="268"/>
                    </a:cubicBezTo>
                    <a:cubicBezTo>
                      <a:pt x="549" y="173"/>
                      <a:pt x="549" y="173"/>
                      <a:pt x="549" y="173"/>
                    </a:cubicBezTo>
                    <a:cubicBezTo>
                      <a:pt x="549" y="168"/>
                      <a:pt x="545" y="164"/>
                      <a:pt x="540" y="164"/>
                    </a:cubicBezTo>
                    <a:cubicBezTo>
                      <a:pt x="446" y="164"/>
                      <a:pt x="446" y="164"/>
                      <a:pt x="446" y="164"/>
                    </a:cubicBezTo>
                    <a:cubicBezTo>
                      <a:pt x="441" y="164"/>
                      <a:pt x="437" y="168"/>
                      <a:pt x="437" y="173"/>
                    </a:cubicBezTo>
                    <a:cubicBezTo>
                      <a:pt x="437" y="212"/>
                      <a:pt x="437" y="212"/>
                      <a:pt x="437" y="212"/>
                    </a:cubicBezTo>
                    <a:cubicBezTo>
                      <a:pt x="303" y="212"/>
                      <a:pt x="303" y="212"/>
                      <a:pt x="303" y="212"/>
                    </a:cubicBezTo>
                    <a:cubicBezTo>
                      <a:pt x="303" y="140"/>
                      <a:pt x="303" y="140"/>
                      <a:pt x="303" y="140"/>
                    </a:cubicBezTo>
                    <a:cubicBezTo>
                      <a:pt x="338" y="136"/>
                      <a:pt x="365" y="107"/>
                      <a:pt x="365" y="71"/>
                    </a:cubicBezTo>
                    <a:cubicBezTo>
                      <a:pt x="365" y="32"/>
                      <a:pt x="334" y="0"/>
                      <a:pt x="295" y="0"/>
                    </a:cubicBezTo>
                    <a:cubicBezTo>
                      <a:pt x="259" y="0"/>
                      <a:pt x="230" y="27"/>
                      <a:pt x="225" y="62"/>
                    </a:cubicBezTo>
                    <a:cubicBezTo>
                      <a:pt x="77" y="62"/>
                      <a:pt x="77" y="62"/>
                      <a:pt x="77" y="62"/>
                    </a:cubicBezTo>
                    <a:cubicBezTo>
                      <a:pt x="72" y="62"/>
                      <a:pt x="68" y="66"/>
                      <a:pt x="68" y="71"/>
                    </a:cubicBezTo>
                    <a:cubicBezTo>
                      <a:pt x="68" y="150"/>
                      <a:pt x="68" y="150"/>
                      <a:pt x="68" y="150"/>
                    </a:cubicBezTo>
                    <a:cubicBezTo>
                      <a:pt x="4" y="214"/>
                      <a:pt x="4" y="214"/>
                      <a:pt x="4" y="214"/>
                    </a:cubicBezTo>
                    <a:cubicBezTo>
                      <a:pt x="0" y="217"/>
                      <a:pt x="0" y="223"/>
                      <a:pt x="4" y="226"/>
                    </a:cubicBezTo>
                    <a:close/>
                    <a:moveTo>
                      <a:pt x="99" y="513"/>
                    </a:moveTo>
                    <a:cubicBezTo>
                      <a:pt x="30" y="474"/>
                      <a:pt x="30" y="474"/>
                      <a:pt x="30" y="474"/>
                    </a:cubicBezTo>
                    <a:cubicBezTo>
                      <a:pt x="99" y="434"/>
                      <a:pt x="99" y="434"/>
                      <a:pt x="99" y="434"/>
                    </a:cubicBezTo>
                    <a:lnTo>
                      <a:pt x="99" y="513"/>
                    </a:lnTo>
                    <a:close/>
                    <a:moveTo>
                      <a:pt x="532" y="474"/>
                    </a:moveTo>
                    <a:cubicBezTo>
                      <a:pt x="532" y="495"/>
                      <a:pt x="514" y="512"/>
                      <a:pt x="493" y="512"/>
                    </a:cubicBezTo>
                    <a:cubicBezTo>
                      <a:pt x="472" y="512"/>
                      <a:pt x="454" y="495"/>
                      <a:pt x="454" y="474"/>
                    </a:cubicBezTo>
                    <a:cubicBezTo>
                      <a:pt x="454" y="452"/>
                      <a:pt x="472" y="435"/>
                      <a:pt x="493" y="435"/>
                    </a:cubicBezTo>
                    <a:cubicBezTo>
                      <a:pt x="514" y="435"/>
                      <a:pt x="532" y="452"/>
                      <a:pt x="532" y="474"/>
                    </a:cubicBezTo>
                    <a:close/>
                    <a:moveTo>
                      <a:pt x="454" y="181"/>
                    </a:moveTo>
                    <a:cubicBezTo>
                      <a:pt x="532" y="181"/>
                      <a:pt x="532" y="181"/>
                      <a:pt x="532" y="181"/>
                    </a:cubicBezTo>
                    <a:cubicBezTo>
                      <a:pt x="532" y="259"/>
                      <a:pt x="532" y="259"/>
                      <a:pt x="532" y="259"/>
                    </a:cubicBezTo>
                    <a:cubicBezTo>
                      <a:pt x="454" y="259"/>
                      <a:pt x="454" y="259"/>
                      <a:pt x="454" y="259"/>
                    </a:cubicBezTo>
                    <a:lnTo>
                      <a:pt x="454" y="181"/>
                    </a:lnTo>
                    <a:close/>
                    <a:moveTo>
                      <a:pt x="295" y="17"/>
                    </a:moveTo>
                    <a:cubicBezTo>
                      <a:pt x="324" y="17"/>
                      <a:pt x="348" y="41"/>
                      <a:pt x="348" y="71"/>
                    </a:cubicBezTo>
                    <a:cubicBezTo>
                      <a:pt x="348" y="100"/>
                      <a:pt x="324" y="124"/>
                      <a:pt x="295" y="124"/>
                    </a:cubicBezTo>
                    <a:cubicBezTo>
                      <a:pt x="265" y="124"/>
                      <a:pt x="242" y="100"/>
                      <a:pt x="242" y="71"/>
                    </a:cubicBezTo>
                    <a:cubicBezTo>
                      <a:pt x="242" y="41"/>
                      <a:pt x="265" y="17"/>
                      <a:pt x="295" y="17"/>
                    </a:cubicBezTo>
                    <a:close/>
                    <a:moveTo>
                      <a:pt x="225" y="79"/>
                    </a:moveTo>
                    <a:cubicBezTo>
                      <a:pt x="229" y="111"/>
                      <a:pt x="254" y="136"/>
                      <a:pt x="286" y="140"/>
                    </a:cubicBezTo>
                    <a:cubicBezTo>
                      <a:pt x="286" y="212"/>
                      <a:pt x="286" y="212"/>
                      <a:pt x="286" y="212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86" y="150"/>
                      <a:pt x="86" y="150"/>
                      <a:pt x="86" y="150"/>
                    </a:cubicBezTo>
                    <a:cubicBezTo>
                      <a:pt x="86" y="79"/>
                      <a:pt x="86" y="79"/>
                      <a:pt x="86" y="79"/>
                    </a:cubicBezTo>
                    <a:lnTo>
                      <a:pt x="225" y="79"/>
                    </a:lnTo>
                    <a:close/>
                    <a:moveTo>
                      <a:pt x="77" y="165"/>
                    </a:moveTo>
                    <a:cubicBezTo>
                      <a:pt x="132" y="220"/>
                      <a:pt x="132" y="220"/>
                      <a:pt x="132" y="220"/>
                    </a:cubicBezTo>
                    <a:cubicBezTo>
                      <a:pt x="77" y="275"/>
                      <a:pt x="77" y="275"/>
                      <a:pt x="77" y="275"/>
                    </a:cubicBezTo>
                    <a:cubicBezTo>
                      <a:pt x="22" y="220"/>
                      <a:pt x="22" y="220"/>
                      <a:pt x="22" y="220"/>
                    </a:cubicBezTo>
                    <a:lnTo>
                      <a:pt x="77" y="165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4" tIns="45698" rIns="91424" bIns="45698" anchor="t" anchorCtr="0">
                <a:noAutofit/>
              </a:bodyPr>
              <a:lstStyle/>
              <a:p>
                <a:pPr defTabSz="829544">
                  <a:buClr>
                    <a:srgbClr val="000000"/>
                  </a:buClr>
                </a:pPr>
                <a:endParaRPr sz="1801" kern="0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" name="Google Shape;574;p30">
            <a:extLst>
              <a:ext uri="{FF2B5EF4-FFF2-40B4-BE49-F238E27FC236}">
                <a16:creationId xmlns:a16="http://schemas.microsoft.com/office/drawing/2014/main" id="{288B7B49-D940-EE65-AFD5-45D2FC972FEC}"/>
              </a:ext>
            </a:extLst>
          </p:cNvPr>
          <p:cNvSpPr txBox="1">
            <a:spLocks/>
          </p:cNvSpPr>
          <p:nvPr/>
        </p:nvSpPr>
        <p:spPr>
          <a:xfrm>
            <a:off x="4523833" y="3083079"/>
            <a:ext cx="3319182" cy="31719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57613" indent="-157613" defTabSz="829544">
              <a:lnSpc>
                <a:spcPts val="1633"/>
              </a:lnSpc>
              <a:buSzPct val="100000"/>
              <a:buFont typeface="Wingdings" panose="05000000000000000000" pitchFamily="2" charset="2"/>
              <a:buChar char="§"/>
            </a:pPr>
            <a:r>
              <a:rPr lang="en-US" sz="1452" b="1" kern="0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Comprehensive Data Collection Strategy</a:t>
            </a:r>
            <a:endParaRPr lang="en-US" sz="1270" b="1" kern="0" dirty="0">
              <a:solidFill>
                <a:srgbClr val="444444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defTabSz="829544">
              <a:lnSpc>
                <a:spcPts val="1633"/>
              </a:lnSpc>
              <a:buClr>
                <a:srgbClr val="00B9FF"/>
              </a:buClr>
              <a:buSzPct val="100000"/>
            </a:pPr>
            <a:r>
              <a:rPr lang="en-US" sz="127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Establishing a robust data collection framework and implementing efficient methodologies to gather the required data.</a:t>
            </a:r>
          </a:p>
          <a:p>
            <a:pPr marL="157613" indent="-157613" defTabSz="829544">
              <a:lnSpc>
                <a:spcPts val="1633"/>
              </a:lnSpc>
              <a:buClr>
                <a:srgbClr val="0F47F2"/>
              </a:buClr>
              <a:buSzPct val="100000"/>
              <a:buFont typeface="Wingdings" panose="05000000000000000000" pitchFamily="2" charset="2"/>
              <a:buChar char="§"/>
            </a:pPr>
            <a:endParaRPr lang="en-US" sz="1270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57613" indent="-157613" defTabSz="829544">
              <a:lnSpc>
                <a:spcPts val="1633"/>
              </a:lnSpc>
              <a:buSzPct val="100000"/>
              <a:buFont typeface="Wingdings" panose="05000000000000000000" pitchFamily="2" charset="2"/>
              <a:buChar char="§"/>
            </a:pPr>
            <a:r>
              <a:rPr lang="en-US" sz="1452" b="1" kern="0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User-Centric Interface Design</a:t>
            </a:r>
          </a:p>
          <a:p>
            <a:pPr defTabSz="829544">
              <a:lnSpc>
                <a:spcPts val="1633"/>
              </a:lnSpc>
              <a:buClr>
                <a:srgbClr val="00B9FF"/>
              </a:buClr>
              <a:buSzPct val="100000"/>
            </a:pPr>
            <a:r>
              <a:rPr lang="en-US" sz="127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Crafting a user-friendly graphical user interface (GUI) that simplified the data collection process for the client</a:t>
            </a:r>
          </a:p>
          <a:p>
            <a:pPr marL="157613" indent="-157613" defTabSz="829544">
              <a:lnSpc>
                <a:spcPts val="1633"/>
              </a:lnSpc>
              <a:buClr>
                <a:srgbClr val="0F47F2"/>
              </a:buClr>
              <a:buSzPct val="100000"/>
              <a:buFont typeface="Wingdings" panose="05000000000000000000" pitchFamily="2" charset="2"/>
              <a:buChar char="§"/>
            </a:pPr>
            <a:endParaRPr lang="en-US" sz="1452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57613" indent="-157613" defTabSz="829544">
              <a:lnSpc>
                <a:spcPts val="1633"/>
              </a:lnSpc>
              <a:buSzPct val="100000"/>
              <a:buFont typeface="Wingdings" panose="05000000000000000000" pitchFamily="2" charset="2"/>
              <a:buChar char="§"/>
            </a:pPr>
            <a:r>
              <a:rPr lang="en-US" sz="1452" b="1" kern="0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Data Quality Assurance</a:t>
            </a:r>
          </a:p>
          <a:p>
            <a:pPr defTabSz="829544">
              <a:lnSpc>
                <a:spcPts val="1633"/>
              </a:lnSpc>
              <a:buClr>
                <a:srgbClr val="00B9FF"/>
              </a:buClr>
              <a:buSzPct val="100000"/>
            </a:pPr>
            <a:r>
              <a:rPr lang="en-US" sz="127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Implementing rigorous cleaning and preprocessing techniques to ensure the integrity and reliability of the collected data. 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A11EE3D-44AE-4AA2-06D3-819C5D978E6F}"/>
              </a:ext>
            </a:extLst>
          </p:cNvPr>
          <p:cNvGrpSpPr/>
          <p:nvPr/>
        </p:nvGrpSpPr>
        <p:grpSpPr>
          <a:xfrm>
            <a:off x="778405" y="4455263"/>
            <a:ext cx="3097524" cy="787319"/>
            <a:chOff x="803725" y="4920772"/>
            <a:chExt cx="3414536" cy="867896"/>
          </a:xfrm>
        </p:grpSpPr>
        <p:sp>
          <p:nvSpPr>
            <p:cNvPr id="34" name="Google Shape;561;p30">
              <a:extLst>
                <a:ext uri="{FF2B5EF4-FFF2-40B4-BE49-F238E27FC236}">
                  <a16:creationId xmlns:a16="http://schemas.microsoft.com/office/drawing/2014/main" id="{1CD9C9B4-265E-2982-A1E5-282D4D7CD76F}"/>
                </a:ext>
              </a:extLst>
            </p:cNvPr>
            <p:cNvSpPr txBox="1">
              <a:spLocks/>
            </p:cNvSpPr>
            <p:nvPr/>
          </p:nvSpPr>
          <p:spPr>
            <a:xfrm>
              <a:off x="1437182" y="4920772"/>
              <a:ext cx="2781079" cy="86789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defTabSz="829544">
                <a:lnSpc>
                  <a:spcPts val="1633"/>
                </a:lnSpc>
                <a:buClr>
                  <a:srgbClr val="000000"/>
                </a:buClr>
              </a:pPr>
              <a:r>
                <a:rPr lang="en-US" sz="1452" kern="0" dirty="0">
                  <a:solidFill>
                    <a:srgbClr val="444444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An efficient and consistent way to regularly collect data from an e-commerce website</a:t>
              </a:r>
              <a:endParaRPr lang="en-US" sz="1452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7D721D98-2F3D-BE39-4A33-AF7458DDA7DA}"/>
                </a:ext>
              </a:extLst>
            </p:cNvPr>
            <p:cNvGrpSpPr/>
            <p:nvPr/>
          </p:nvGrpSpPr>
          <p:grpSpPr>
            <a:xfrm>
              <a:off x="803725" y="4920772"/>
              <a:ext cx="503992" cy="503992"/>
              <a:chOff x="803725" y="4811208"/>
              <a:chExt cx="503992" cy="503992"/>
            </a:xfrm>
          </p:grpSpPr>
          <p:sp>
            <p:nvSpPr>
              <p:cNvPr id="36" name="Google Shape;554;p30">
                <a:extLst>
                  <a:ext uri="{FF2B5EF4-FFF2-40B4-BE49-F238E27FC236}">
                    <a16:creationId xmlns:a16="http://schemas.microsoft.com/office/drawing/2014/main" id="{AE1A80AB-92C3-FEBF-8029-F670F717BF21}"/>
                  </a:ext>
                </a:extLst>
              </p:cNvPr>
              <p:cNvSpPr/>
              <p:nvPr/>
            </p:nvSpPr>
            <p:spPr>
              <a:xfrm>
                <a:off x="803725" y="4811208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4" tIns="45698" rIns="91424" bIns="45698" anchor="ctr" anchorCtr="0">
                <a:noAutofit/>
              </a:bodyPr>
              <a:lstStyle/>
              <a:p>
                <a:pPr algn="ctr" defTabSz="829544">
                  <a:lnSpc>
                    <a:spcPts val="1633"/>
                  </a:lnSpc>
                  <a:buClr>
                    <a:srgbClr val="000000"/>
                  </a:buClr>
                </a:pPr>
                <a:endParaRPr sz="1452" kern="0">
                  <a:solidFill>
                    <a:srgbClr val="FFFFFF"/>
                  </a:solidFill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" name="Freeform 8">
                <a:extLst>
                  <a:ext uri="{FF2B5EF4-FFF2-40B4-BE49-F238E27FC236}">
                    <a16:creationId xmlns:a16="http://schemas.microsoft.com/office/drawing/2014/main" id="{83AA069D-3D80-73AB-0884-9E5A8379FE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7482" y="4933493"/>
                <a:ext cx="376479" cy="259422"/>
              </a:xfrm>
              <a:custGeom>
                <a:avLst/>
                <a:gdLst/>
                <a:ahLst/>
                <a:cxnLst>
                  <a:cxn ang="0">
                    <a:pos x="12" y="486"/>
                  </a:cxn>
                  <a:cxn ang="0">
                    <a:pos x="36" y="474"/>
                  </a:cxn>
                  <a:cxn ang="0">
                    <a:pos x="78" y="462"/>
                  </a:cxn>
                  <a:cxn ang="0">
                    <a:pos x="114" y="444"/>
                  </a:cxn>
                  <a:cxn ang="0">
                    <a:pos x="180" y="396"/>
                  </a:cxn>
                  <a:cxn ang="0">
                    <a:pos x="204" y="354"/>
                  </a:cxn>
                  <a:cxn ang="0">
                    <a:pos x="210" y="324"/>
                  </a:cxn>
                  <a:cxn ang="0">
                    <a:pos x="198" y="312"/>
                  </a:cxn>
                  <a:cxn ang="0">
                    <a:pos x="204" y="276"/>
                  </a:cxn>
                  <a:cxn ang="0">
                    <a:pos x="210" y="258"/>
                  </a:cxn>
                  <a:cxn ang="0">
                    <a:pos x="234" y="222"/>
                  </a:cxn>
                  <a:cxn ang="0">
                    <a:pos x="240" y="204"/>
                  </a:cxn>
                  <a:cxn ang="0">
                    <a:pos x="252" y="186"/>
                  </a:cxn>
                  <a:cxn ang="0">
                    <a:pos x="270" y="174"/>
                  </a:cxn>
                  <a:cxn ang="0">
                    <a:pos x="282" y="162"/>
                  </a:cxn>
                  <a:cxn ang="0">
                    <a:pos x="312" y="144"/>
                  </a:cxn>
                  <a:cxn ang="0">
                    <a:pos x="342" y="132"/>
                  </a:cxn>
                  <a:cxn ang="0">
                    <a:pos x="360" y="126"/>
                  </a:cxn>
                  <a:cxn ang="0">
                    <a:pos x="384" y="108"/>
                  </a:cxn>
                  <a:cxn ang="0">
                    <a:pos x="396" y="90"/>
                  </a:cxn>
                  <a:cxn ang="0">
                    <a:pos x="414" y="48"/>
                  </a:cxn>
                  <a:cxn ang="0">
                    <a:pos x="438" y="6"/>
                  </a:cxn>
                  <a:cxn ang="0">
                    <a:pos x="456" y="0"/>
                  </a:cxn>
                  <a:cxn ang="0">
                    <a:pos x="468" y="12"/>
                  </a:cxn>
                  <a:cxn ang="0">
                    <a:pos x="480" y="30"/>
                  </a:cxn>
                  <a:cxn ang="0">
                    <a:pos x="504" y="42"/>
                  </a:cxn>
                  <a:cxn ang="0">
                    <a:pos x="546" y="42"/>
                  </a:cxn>
                  <a:cxn ang="0">
                    <a:pos x="570" y="42"/>
                  </a:cxn>
                  <a:cxn ang="0">
                    <a:pos x="594" y="36"/>
                  </a:cxn>
                  <a:cxn ang="0">
                    <a:pos x="606" y="36"/>
                  </a:cxn>
                  <a:cxn ang="0">
                    <a:pos x="618" y="48"/>
                  </a:cxn>
                  <a:cxn ang="0">
                    <a:pos x="642" y="48"/>
                  </a:cxn>
                  <a:cxn ang="0">
                    <a:pos x="660" y="60"/>
                  </a:cxn>
                  <a:cxn ang="0">
                    <a:pos x="672" y="72"/>
                  </a:cxn>
                  <a:cxn ang="0">
                    <a:pos x="666" y="90"/>
                  </a:cxn>
                  <a:cxn ang="0">
                    <a:pos x="672" y="132"/>
                  </a:cxn>
                  <a:cxn ang="0">
                    <a:pos x="678" y="156"/>
                  </a:cxn>
                  <a:cxn ang="0">
                    <a:pos x="684" y="180"/>
                  </a:cxn>
                  <a:cxn ang="0">
                    <a:pos x="708" y="210"/>
                  </a:cxn>
                  <a:cxn ang="0">
                    <a:pos x="702" y="216"/>
                  </a:cxn>
                  <a:cxn ang="0">
                    <a:pos x="702" y="228"/>
                  </a:cxn>
                  <a:cxn ang="0">
                    <a:pos x="666" y="228"/>
                  </a:cxn>
                  <a:cxn ang="0">
                    <a:pos x="606" y="228"/>
                  </a:cxn>
                  <a:cxn ang="0">
                    <a:pos x="606" y="246"/>
                  </a:cxn>
                  <a:cxn ang="0">
                    <a:pos x="558" y="264"/>
                  </a:cxn>
                  <a:cxn ang="0">
                    <a:pos x="552" y="282"/>
                  </a:cxn>
                  <a:cxn ang="0">
                    <a:pos x="564" y="294"/>
                  </a:cxn>
                  <a:cxn ang="0">
                    <a:pos x="552" y="300"/>
                  </a:cxn>
                  <a:cxn ang="0">
                    <a:pos x="528" y="312"/>
                  </a:cxn>
                  <a:cxn ang="0">
                    <a:pos x="492" y="318"/>
                  </a:cxn>
                  <a:cxn ang="0">
                    <a:pos x="474" y="354"/>
                  </a:cxn>
                  <a:cxn ang="0">
                    <a:pos x="432" y="366"/>
                  </a:cxn>
                  <a:cxn ang="0">
                    <a:pos x="396" y="372"/>
                  </a:cxn>
                  <a:cxn ang="0">
                    <a:pos x="378" y="378"/>
                  </a:cxn>
                  <a:cxn ang="0">
                    <a:pos x="348" y="378"/>
                  </a:cxn>
                  <a:cxn ang="0">
                    <a:pos x="324" y="396"/>
                  </a:cxn>
                  <a:cxn ang="0">
                    <a:pos x="300" y="414"/>
                  </a:cxn>
                  <a:cxn ang="0">
                    <a:pos x="264" y="432"/>
                  </a:cxn>
                </a:cxnLst>
                <a:rect l="0" t="0" r="r" b="b"/>
                <a:pathLst>
                  <a:path w="714" h="492">
                    <a:moveTo>
                      <a:pt x="0" y="492"/>
                    </a:moveTo>
                    <a:lnTo>
                      <a:pt x="6" y="492"/>
                    </a:lnTo>
                    <a:lnTo>
                      <a:pt x="12" y="486"/>
                    </a:lnTo>
                    <a:lnTo>
                      <a:pt x="18" y="480"/>
                    </a:lnTo>
                    <a:lnTo>
                      <a:pt x="18" y="474"/>
                    </a:lnTo>
                    <a:lnTo>
                      <a:pt x="36" y="474"/>
                    </a:lnTo>
                    <a:lnTo>
                      <a:pt x="60" y="468"/>
                    </a:lnTo>
                    <a:lnTo>
                      <a:pt x="66" y="468"/>
                    </a:lnTo>
                    <a:lnTo>
                      <a:pt x="78" y="462"/>
                    </a:lnTo>
                    <a:lnTo>
                      <a:pt x="102" y="456"/>
                    </a:lnTo>
                    <a:lnTo>
                      <a:pt x="102" y="450"/>
                    </a:lnTo>
                    <a:lnTo>
                      <a:pt x="114" y="444"/>
                    </a:lnTo>
                    <a:lnTo>
                      <a:pt x="126" y="432"/>
                    </a:lnTo>
                    <a:lnTo>
                      <a:pt x="156" y="414"/>
                    </a:lnTo>
                    <a:lnTo>
                      <a:pt x="180" y="396"/>
                    </a:lnTo>
                    <a:lnTo>
                      <a:pt x="192" y="372"/>
                    </a:lnTo>
                    <a:lnTo>
                      <a:pt x="204" y="360"/>
                    </a:lnTo>
                    <a:lnTo>
                      <a:pt x="204" y="354"/>
                    </a:lnTo>
                    <a:lnTo>
                      <a:pt x="210" y="342"/>
                    </a:lnTo>
                    <a:lnTo>
                      <a:pt x="216" y="330"/>
                    </a:lnTo>
                    <a:lnTo>
                      <a:pt x="210" y="324"/>
                    </a:lnTo>
                    <a:lnTo>
                      <a:pt x="204" y="318"/>
                    </a:lnTo>
                    <a:lnTo>
                      <a:pt x="198" y="318"/>
                    </a:lnTo>
                    <a:lnTo>
                      <a:pt x="198" y="312"/>
                    </a:lnTo>
                    <a:lnTo>
                      <a:pt x="204" y="306"/>
                    </a:lnTo>
                    <a:lnTo>
                      <a:pt x="198" y="288"/>
                    </a:lnTo>
                    <a:lnTo>
                      <a:pt x="204" y="276"/>
                    </a:lnTo>
                    <a:lnTo>
                      <a:pt x="198" y="270"/>
                    </a:lnTo>
                    <a:lnTo>
                      <a:pt x="204" y="264"/>
                    </a:lnTo>
                    <a:lnTo>
                      <a:pt x="210" y="258"/>
                    </a:lnTo>
                    <a:lnTo>
                      <a:pt x="210" y="252"/>
                    </a:lnTo>
                    <a:lnTo>
                      <a:pt x="228" y="234"/>
                    </a:lnTo>
                    <a:lnTo>
                      <a:pt x="234" y="222"/>
                    </a:lnTo>
                    <a:lnTo>
                      <a:pt x="234" y="216"/>
                    </a:lnTo>
                    <a:lnTo>
                      <a:pt x="234" y="210"/>
                    </a:lnTo>
                    <a:lnTo>
                      <a:pt x="240" y="204"/>
                    </a:lnTo>
                    <a:lnTo>
                      <a:pt x="234" y="204"/>
                    </a:lnTo>
                    <a:lnTo>
                      <a:pt x="246" y="198"/>
                    </a:lnTo>
                    <a:lnTo>
                      <a:pt x="252" y="186"/>
                    </a:lnTo>
                    <a:lnTo>
                      <a:pt x="258" y="186"/>
                    </a:lnTo>
                    <a:lnTo>
                      <a:pt x="264" y="180"/>
                    </a:lnTo>
                    <a:lnTo>
                      <a:pt x="270" y="174"/>
                    </a:lnTo>
                    <a:lnTo>
                      <a:pt x="276" y="168"/>
                    </a:lnTo>
                    <a:lnTo>
                      <a:pt x="276" y="162"/>
                    </a:lnTo>
                    <a:lnTo>
                      <a:pt x="282" y="162"/>
                    </a:lnTo>
                    <a:lnTo>
                      <a:pt x="288" y="156"/>
                    </a:lnTo>
                    <a:lnTo>
                      <a:pt x="294" y="150"/>
                    </a:lnTo>
                    <a:lnTo>
                      <a:pt x="312" y="144"/>
                    </a:lnTo>
                    <a:lnTo>
                      <a:pt x="330" y="138"/>
                    </a:lnTo>
                    <a:lnTo>
                      <a:pt x="336" y="138"/>
                    </a:lnTo>
                    <a:lnTo>
                      <a:pt x="342" y="132"/>
                    </a:lnTo>
                    <a:lnTo>
                      <a:pt x="348" y="132"/>
                    </a:lnTo>
                    <a:lnTo>
                      <a:pt x="354" y="126"/>
                    </a:lnTo>
                    <a:lnTo>
                      <a:pt x="360" y="126"/>
                    </a:lnTo>
                    <a:lnTo>
                      <a:pt x="366" y="120"/>
                    </a:lnTo>
                    <a:lnTo>
                      <a:pt x="378" y="114"/>
                    </a:lnTo>
                    <a:lnTo>
                      <a:pt x="384" y="108"/>
                    </a:lnTo>
                    <a:lnTo>
                      <a:pt x="390" y="102"/>
                    </a:lnTo>
                    <a:lnTo>
                      <a:pt x="390" y="96"/>
                    </a:lnTo>
                    <a:lnTo>
                      <a:pt x="396" y="90"/>
                    </a:lnTo>
                    <a:lnTo>
                      <a:pt x="402" y="84"/>
                    </a:lnTo>
                    <a:lnTo>
                      <a:pt x="408" y="60"/>
                    </a:lnTo>
                    <a:lnTo>
                      <a:pt x="414" y="48"/>
                    </a:lnTo>
                    <a:lnTo>
                      <a:pt x="420" y="42"/>
                    </a:lnTo>
                    <a:lnTo>
                      <a:pt x="432" y="6"/>
                    </a:lnTo>
                    <a:lnTo>
                      <a:pt x="438" y="6"/>
                    </a:lnTo>
                    <a:lnTo>
                      <a:pt x="444" y="6"/>
                    </a:lnTo>
                    <a:lnTo>
                      <a:pt x="450" y="6"/>
                    </a:lnTo>
                    <a:lnTo>
                      <a:pt x="456" y="0"/>
                    </a:lnTo>
                    <a:lnTo>
                      <a:pt x="462" y="0"/>
                    </a:lnTo>
                    <a:lnTo>
                      <a:pt x="468" y="6"/>
                    </a:lnTo>
                    <a:lnTo>
                      <a:pt x="468" y="12"/>
                    </a:lnTo>
                    <a:lnTo>
                      <a:pt x="468" y="24"/>
                    </a:lnTo>
                    <a:lnTo>
                      <a:pt x="474" y="24"/>
                    </a:lnTo>
                    <a:lnTo>
                      <a:pt x="480" y="30"/>
                    </a:lnTo>
                    <a:lnTo>
                      <a:pt x="492" y="36"/>
                    </a:lnTo>
                    <a:lnTo>
                      <a:pt x="498" y="42"/>
                    </a:lnTo>
                    <a:lnTo>
                      <a:pt x="504" y="42"/>
                    </a:lnTo>
                    <a:lnTo>
                      <a:pt x="522" y="48"/>
                    </a:lnTo>
                    <a:lnTo>
                      <a:pt x="540" y="42"/>
                    </a:lnTo>
                    <a:lnTo>
                      <a:pt x="546" y="42"/>
                    </a:lnTo>
                    <a:lnTo>
                      <a:pt x="552" y="42"/>
                    </a:lnTo>
                    <a:lnTo>
                      <a:pt x="558" y="36"/>
                    </a:lnTo>
                    <a:lnTo>
                      <a:pt x="570" y="42"/>
                    </a:lnTo>
                    <a:lnTo>
                      <a:pt x="582" y="42"/>
                    </a:lnTo>
                    <a:lnTo>
                      <a:pt x="588" y="42"/>
                    </a:lnTo>
                    <a:lnTo>
                      <a:pt x="594" y="36"/>
                    </a:lnTo>
                    <a:lnTo>
                      <a:pt x="600" y="30"/>
                    </a:lnTo>
                    <a:lnTo>
                      <a:pt x="600" y="36"/>
                    </a:lnTo>
                    <a:lnTo>
                      <a:pt x="606" y="36"/>
                    </a:lnTo>
                    <a:lnTo>
                      <a:pt x="606" y="42"/>
                    </a:lnTo>
                    <a:lnTo>
                      <a:pt x="612" y="48"/>
                    </a:lnTo>
                    <a:lnTo>
                      <a:pt x="618" y="48"/>
                    </a:lnTo>
                    <a:lnTo>
                      <a:pt x="624" y="48"/>
                    </a:lnTo>
                    <a:lnTo>
                      <a:pt x="630" y="48"/>
                    </a:lnTo>
                    <a:lnTo>
                      <a:pt x="642" y="48"/>
                    </a:lnTo>
                    <a:lnTo>
                      <a:pt x="642" y="54"/>
                    </a:lnTo>
                    <a:lnTo>
                      <a:pt x="654" y="60"/>
                    </a:lnTo>
                    <a:lnTo>
                      <a:pt x="660" y="60"/>
                    </a:lnTo>
                    <a:lnTo>
                      <a:pt x="660" y="66"/>
                    </a:lnTo>
                    <a:lnTo>
                      <a:pt x="666" y="66"/>
                    </a:lnTo>
                    <a:lnTo>
                      <a:pt x="672" y="72"/>
                    </a:lnTo>
                    <a:lnTo>
                      <a:pt x="666" y="78"/>
                    </a:lnTo>
                    <a:lnTo>
                      <a:pt x="672" y="84"/>
                    </a:lnTo>
                    <a:lnTo>
                      <a:pt x="666" y="90"/>
                    </a:lnTo>
                    <a:lnTo>
                      <a:pt x="678" y="108"/>
                    </a:lnTo>
                    <a:lnTo>
                      <a:pt x="672" y="126"/>
                    </a:lnTo>
                    <a:lnTo>
                      <a:pt x="672" y="132"/>
                    </a:lnTo>
                    <a:lnTo>
                      <a:pt x="678" y="138"/>
                    </a:lnTo>
                    <a:lnTo>
                      <a:pt x="678" y="144"/>
                    </a:lnTo>
                    <a:lnTo>
                      <a:pt x="678" y="156"/>
                    </a:lnTo>
                    <a:lnTo>
                      <a:pt x="678" y="162"/>
                    </a:lnTo>
                    <a:lnTo>
                      <a:pt x="684" y="174"/>
                    </a:lnTo>
                    <a:lnTo>
                      <a:pt x="684" y="180"/>
                    </a:lnTo>
                    <a:lnTo>
                      <a:pt x="690" y="192"/>
                    </a:lnTo>
                    <a:lnTo>
                      <a:pt x="714" y="204"/>
                    </a:lnTo>
                    <a:lnTo>
                      <a:pt x="708" y="210"/>
                    </a:lnTo>
                    <a:lnTo>
                      <a:pt x="702" y="210"/>
                    </a:lnTo>
                    <a:lnTo>
                      <a:pt x="696" y="216"/>
                    </a:lnTo>
                    <a:lnTo>
                      <a:pt x="702" y="216"/>
                    </a:lnTo>
                    <a:lnTo>
                      <a:pt x="696" y="222"/>
                    </a:lnTo>
                    <a:lnTo>
                      <a:pt x="702" y="222"/>
                    </a:lnTo>
                    <a:lnTo>
                      <a:pt x="702" y="228"/>
                    </a:lnTo>
                    <a:lnTo>
                      <a:pt x="696" y="228"/>
                    </a:lnTo>
                    <a:lnTo>
                      <a:pt x="684" y="228"/>
                    </a:lnTo>
                    <a:lnTo>
                      <a:pt x="666" y="228"/>
                    </a:lnTo>
                    <a:lnTo>
                      <a:pt x="636" y="222"/>
                    </a:lnTo>
                    <a:lnTo>
                      <a:pt x="612" y="228"/>
                    </a:lnTo>
                    <a:lnTo>
                      <a:pt x="606" y="228"/>
                    </a:lnTo>
                    <a:lnTo>
                      <a:pt x="600" y="234"/>
                    </a:lnTo>
                    <a:lnTo>
                      <a:pt x="606" y="240"/>
                    </a:lnTo>
                    <a:lnTo>
                      <a:pt x="606" y="246"/>
                    </a:lnTo>
                    <a:lnTo>
                      <a:pt x="606" y="252"/>
                    </a:lnTo>
                    <a:lnTo>
                      <a:pt x="558" y="258"/>
                    </a:lnTo>
                    <a:lnTo>
                      <a:pt x="558" y="264"/>
                    </a:lnTo>
                    <a:lnTo>
                      <a:pt x="558" y="270"/>
                    </a:lnTo>
                    <a:lnTo>
                      <a:pt x="552" y="276"/>
                    </a:lnTo>
                    <a:lnTo>
                      <a:pt x="552" y="282"/>
                    </a:lnTo>
                    <a:lnTo>
                      <a:pt x="552" y="288"/>
                    </a:lnTo>
                    <a:lnTo>
                      <a:pt x="558" y="288"/>
                    </a:lnTo>
                    <a:lnTo>
                      <a:pt x="564" y="294"/>
                    </a:lnTo>
                    <a:lnTo>
                      <a:pt x="564" y="300"/>
                    </a:lnTo>
                    <a:lnTo>
                      <a:pt x="558" y="300"/>
                    </a:lnTo>
                    <a:lnTo>
                      <a:pt x="552" y="300"/>
                    </a:lnTo>
                    <a:lnTo>
                      <a:pt x="546" y="300"/>
                    </a:lnTo>
                    <a:lnTo>
                      <a:pt x="534" y="306"/>
                    </a:lnTo>
                    <a:lnTo>
                      <a:pt x="528" y="312"/>
                    </a:lnTo>
                    <a:lnTo>
                      <a:pt x="516" y="312"/>
                    </a:lnTo>
                    <a:lnTo>
                      <a:pt x="498" y="312"/>
                    </a:lnTo>
                    <a:lnTo>
                      <a:pt x="492" y="318"/>
                    </a:lnTo>
                    <a:lnTo>
                      <a:pt x="480" y="336"/>
                    </a:lnTo>
                    <a:lnTo>
                      <a:pt x="480" y="342"/>
                    </a:lnTo>
                    <a:lnTo>
                      <a:pt x="474" y="354"/>
                    </a:lnTo>
                    <a:lnTo>
                      <a:pt x="450" y="366"/>
                    </a:lnTo>
                    <a:lnTo>
                      <a:pt x="438" y="366"/>
                    </a:lnTo>
                    <a:lnTo>
                      <a:pt x="432" y="366"/>
                    </a:lnTo>
                    <a:lnTo>
                      <a:pt x="420" y="372"/>
                    </a:lnTo>
                    <a:lnTo>
                      <a:pt x="402" y="372"/>
                    </a:lnTo>
                    <a:lnTo>
                      <a:pt x="396" y="372"/>
                    </a:lnTo>
                    <a:lnTo>
                      <a:pt x="390" y="378"/>
                    </a:lnTo>
                    <a:lnTo>
                      <a:pt x="384" y="378"/>
                    </a:lnTo>
                    <a:lnTo>
                      <a:pt x="378" y="378"/>
                    </a:lnTo>
                    <a:lnTo>
                      <a:pt x="366" y="378"/>
                    </a:lnTo>
                    <a:lnTo>
                      <a:pt x="360" y="378"/>
                    </a:lnTo>
                    <a:lnTo>
                      <a:pt x="348" y="378"/>
                    </a:lnTo>
                    <a:lnTo>
                      <a:pt x="336" y="390"/>
                    </a:lnTo>
                    <a:lnTo>
                      <a:pt x="324" y="390"/>
                    </a:lnTo>
                    <a:lnTo>
                      <a:pt x="324" y="396"/>
                    </a:lnTo>
                    <a:lnTo>
                      <a:pt x="318" y="396"/>
                    </a:lnTo>
                    <a:lnTo>
                      <a:pt x="306" y="408"/>
                    </a:lnTo>
                    <a:lnTo>
                      <a:pt x="300" y="414"/>
                    </a:lnTo>
                    <a:lnTo>
                      <a:pt x="282" y="420"/>
                    </a:lnTo>
                    <a:lnTo>
                      <a:pt x="282" y="426"/>
                    </a:lnTo>
                    <a:lnTo>
                      <a:pt x="264" y="432"/>
                    </a:lnTo>
                    <a:lnTo>
                      <a:pt x="264" y="492"/>
                    </a:lnTo>
                    <a:lnTo>
                      <a:pt x="0" y="492"/>
                    </a:lnTo>
                    <a:close/>
                  </a:path>
                </a:pathLst>
              </a:custGeom>
              <a:noFill/>
              <a:ln w="6350" cmpd="sng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vert="horz" wrap="square" lIns="91438" tIns="45719" rIns="91438" bIns="45719" numCol="1" anchor="t" anchorCtr="0" compatLnSpc="1">
                <a:prstTxWarp prst="textNoShape">
                  <a:avLst/>
                </a:prstTxWarp>
              </a:bodyPr>
              <a:lstStyle/>
              <a:p>
                <a:pPr defTabSz="829544">
                  <a:lnSpc>
                    <a:spcPts val="1633"/>
                  </a:lnSpc>
                  <a:buClr>
                    <a:srgbClr val="000000"/>
                  </a:buClr>
                </a:pPr>
                <a:endParaRPr lang="en-US" sz="1452" kern="0">
                  <a:solidFill>
                    <a:srgbClr val="000000"/>
                  </a:solidFill>
                  <a:latin typeface="Calibri" panose="020F0502020204030204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6574DEA-07CE-36EC-9630-8524FD110C2E}"/>
              </a:ext>
            </a:extLst>
          </p:cNvPr>
          <p:cNvGrpSpPr/>
          <p:nvPr/>
        </p:nvGrpSpPr>
        <p:grpSpPr>
          <a:xfrm>
            <a:off x="778405" y="5424615"/>
            <a:ext cx="3097524" cy="582571"/>
            <a:chOff x="803725" y="5928057"/>
            <a:chExt cx="3414536" cy="642193"/>
          </a:xfrm>
        </p:grpSpPr>
        <p:sp>
          <p:nvSpPr>
            <p:cNvPr id="39" name="Google Shape;562;p30">
              <a:extLst>
                <a:ext uri="{FF2B5EF4-FFF2-40B4-BE49-F238E27FC236}">
                  <a16:creationId xmlns:a16="http://schemas.microsoft.com/office/drawing/2014/main" id="{2A7013BA-0A2D-A4DA-82DC-24805E241672}"/>
                </a:ext>
              </a:extLst>
            </p:cNvPr>
            <p:cNvSpPr txBox="1"/>
            <p:nvPr/>
          </p:nvSpPr>
          <p:spPr>
            <a:xfrm>
              <a:off x="1437182" y="5928057"/>
              <a:ext cx="2781079" cy="64219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0" tIns="0" rIns="0" bIns="0" anchor="t" anchorCtr="0">
              <a:noAutofit/>
            </a:bodyPr>
            <a:lstStyle/>
            <a:p>
              <a:pPr defTabSz="829544">
                <a:lnSpc>
                  <a:spcPts val="1633"/>
                </a:lnSpc>
                <a:buClr>
                  <a:srgbClr val="000000"/>
                </a:buClr>
              </a:pPr>
              <a:r>
                <a:rPr lang="en-US" sz="1452" kern="0" dirty="0">
                  <a:solidFill>
                    <a:srgbClr val="444444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Create a database with the data collected daily to avoid bias of unsold items</a:t>
              </a:r>
              <a:endParaRPr lang="en-US" sz="1452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C46A55DE-BCF2-04E6-05C7-2EE14B93F4E0}"/>
                </a:ext>
              </a:extLst>
            </p:cNvPr>
            <p:cNvGrpSpPr/>
            <p:nvPr/>
          </p:nvGrpSpPr>
          <p:grpSpPr>
            <a:xfrm>
              <a:off x="803725" y="5928057"/>
              <a:ext cx="503992" cy="503992"/>
              <a:chOff x="803725" y="5691182"/>
              <a:chExt cx="503992" cy="503992"/>
            </a:xfrm>
          </p:grpSpPr>
          <p:sp>
            <p:nvSpPr>
              <p:cNvPr id="41" name="Google Shape;557;p30">
                <a:extLst>
                  <a:ext uri="{FF2B5EF4-FFF2-40B4-BE49-F238E27FC236}">
                    <a16:creationId xmlns:a16="http://schemas.microsoft.com/office/drawing/2014/main" id="{A8CAE4E5-54A4-E896-179A-92FB21D23C82}"/>
                  </a:ext>
                </a:extLst>
              </p:cNvPr>
              <p:cNvSpPr/>
              <p:nvPr/>
            </p:nvSpPr>
            <p:spPr>
              <a:xfrm>
                <a:off x="803725" y="5691182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4" tIns="45698" rIns="91424" bIns="45698" anchor="ctr" anchorCtr="0">
                <a:noAutofit/>
              </a:bodyPr>
              <a:lstStyle/>
              <a:p>
                <a:pPr algn="ctr" defTabSz="829544">
                  <a:lnSpc>
                    <a:spcPts val="1633"/>
                  </a:lnSpc>
                  <a:buClr>
                    <a:srgbClr val="000000"/>
                  </a:buClr>
                </a:pPr>
                <a:endParaRPr sz="1452" kern="0">
                  <a:solidFill>
                    <a:srgbClr val="FFFFFF"/>
                  </a:solidFill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178" name="Graphic 177">
                <a:extLst>
                  <a:ext uri="{FF2B5EF4-FFF2-40B4-BE49-F238E27FC236}">
                    <a16:creationId xmlns:a16="http://schemas.microsoft.com/office/drawing/2014/main" id="{08B11E22-383D-60DA-111A-706DDE30D1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886475" y="5805420"/>
                <a:ext cx="338492" cy="275516"/>
              </a:xfrm>
              <a:prstGeom prst="rect">
                <a:avLst/>
              </a:prstGeom>
            </p:spPr>
          </p:pic>
        </p:grpSp>
      </p:grpSp>
      <p:sp>
        <p:nvSpPr>
          <p:cNvPr id="2" name="Google Shape;541;p30">
            <a:extLst>
              <a:ext uri="{FF2B5EF4-FFF2-40B4-BE49-F238E27FC236}">
                <a16:creationId xmlns:a16="http://schemas.microsoft.com/office/drawing/2014/main" id="{70B35DA0-55F3-97D3-61F0-F24C0C1B7488}"/>
              </a:ext>
            </a:extLst>
          </p:cNvPr>
          <p:cNvSpPr txBox="1"/>
          <p:nvPr/>
        </p:nvSpPr>
        <p:spPr>
          <a:xfrm>
            <a:off x="8998252" y="1901065"/>
            <a:ext cx="1710125" cy="284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829544">
              <a:lnSpc>
                <a:spcPct val="85000"/>
              </a:lnSpc>
              <a:buClr>
                <a:srgbClr val="000000"/>
              </a:buClr>
            </a:pPr>
            <a:r>
              <a:rPr lang="en-IN" sz="2177" b="1" kern="0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Outcome</a:t>
            </a:r>
            <a:endParaRPr sz="2177" b="1" kern="0" dirty="0">
              <a:solidFill>
                <a:srgbClr val="000000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" name="Google Shape;546;p30">
            <a:extLst>
              <a:ext uri="{FF2B5EF4-FFF2-40B4-BE49-F238E27FC236}">
                <a16:creationId xmlns:a16="http://schemas.microsoft.com/office/drawing/2014/main" id="{926F6433-AADB-48C1-48E3-3991E5BEA5CA}"/>
              </a:ext>
            </a:extLst>
          </p:cNvPr>
          <p:cNvSpPr txBox="1"/>
          <p:nvPr/>
        </p:nvSpPr>
        <p:spPr>
          <a:xfrm>
            <a:off x="1218392" y="1901065"/>
            <a:ext cx="2217549" cy="284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829544">
              <a:lnSpc>
                <a:spcPct val="85000"/>
              </a:lnSpc>
              <a:buClr>
                <a:srgbClr val="000000"/>
              </a:buClr>
            </a:pPr>
            <a:r>
              <a:rPr lang="en-IN" sz="2177" b="1" kern="0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Client Challenge</a:t>
            </a:r>
            <a:endParaRPr sz="2177" b="1" kern="0" dirty="0">
              <a:solidFill>
                <a:srgbClr val="000000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1" name="Google Shape;567;p30">
            <a:extLst>
              <a:ext uri="{FF2B5EF4-FFF2-40B4-BE49-F238E27FC236}">
                <a16:creationId xmlns:a16="http://schemas.microsoft.com/office/drawing/2014/main" id="{93FF24BB-A9B2-328E-48EA-F20777E72020}"/>
              </a:ext>
            </a:extLst>
          </p:cNvPr>
          <p:cNvSpPr txBox="1"/>
          <p:nvPr/>
        </p:nvSpPr>
        <p:spPr>
          <a:xfrm>
            <a:off x="5210232" y="1901065"/>
            <a:ext cx="1760015" cy="284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829544">
              <a:lnSpc>
                <a:spcPct val="85000"/>
              </a:lnSpc>
              <a:buClr>
                <a:srgbClr val="000000"/>
              </a:buClr>
            </a:pPr>
            <a:r>
              <a:rPr lang="en-IN" sz="2177" b="1" kern="0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Our Solution</a:t>
            </a:r>
            <a:endParaRPr sz="2177" b="1" kern="0" dirty="0">
              <a:solidFill>
                <a:srgbClr val="000000"/>
              </a:solidFill>
              <a:latin typeface="Calibri" panose="020F0502020204030204"/>
              <a:cs typeface="Arial"/>
              <a:sym typeface="Arial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0F44A0B-44A7-0066-B0BB-AFADDD7A462A}"/>
              </a:ext>
            </a:extLst>
          </p:cNvPr>
          <p:cNvCxnSpPr/>
          <p:nvPr/>
        </p:nvCxnSpPr>
        <p:spPr>
          <a:xfrm>
            <a:off x="694094" y="5333599"/>
            <a:ext cx="3266145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5593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BC3D5D9-A4E4-2A8B-3312-A86545505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5672640"/>
              </p:ext>
            </p:extLst>
          </p:nvPr>
        </p:nvGraphicFramePr>
        <p:xfrm>
          <a:off x="1441" y="153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BC3D5D9-A4E4-2A8B-3312-A86545505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41" y="153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D1271DD5-0E2F-2673-6E5B-1C0B00F1F0CB}"/>
              </a:ext>
            </a:extLst>
          </p:cNvPr>
          <p:cNvGrpSpPr/>
          <p:nvPr/>
        </p:nvGrpSpPr>
        <p:grpSpPr>
          <a:xfrm>
            <a:off x="6312738" y="1627210"/>
            <a:ext cx="3701902" cy="2232105"/>
            <a:chOff x="1329003" y="3864105"/>
            <a:chExt cx="4080768" cy="2460547"/>
          </a:xfrm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C52E9759-5FBD-19F5-097F-8A5010656DEC}"/>
                </a:ext>
              </a:extLst>
            </p:cNvPr>
            <p:cNvSpPr/>
            <p:nvPr/>
          </p:nvSpPr>
          <p:spPr>
            <a:xfrm>
              <a:off x="1650498" y="3935972"/>
              <a:ext cx="3437725" cy="2259434"/>
            </a:xfrm>
            <a:custGeom>
              <a:avLst/>
              <a:gdLst>
                <a:gd name="connsiteX0" fmla="*/ 123909 w 3437725"/>
                <a:gd name="connsiteY0" fmla="*/ 2259371 h 2259434"/>
                <a:gd name="connsiteX1" fmla="*/ 0 w 3437725"/>
                <a:gd name="connsiteY1" fmla="*/ 2195620 h 2259434"/>
                <a:gd name="connsiteX2" fmla="*/ 0 w 3437725"/>
                <a:gd name="connsiteY2" fmla="*/ 123909 h 2259434"/>
                <a:gd name="connsiteX3" fmla="*/ 123909 w 3437725"/>
                <a:gd name="connsiteY3" fmla="*/ 0 h 2259434"/>
                <a:gd name="connsiteX4" fmla="*/ 3313817 w 3437725"/>
                <a:gd name="connsiteY4" fmla="*/ 0 h 2259434"/>
                <a:gd name="connsiteX5" fmla="*/ 3437725 w 3437725"/>
                <a:gd name="connsiteY5" fmla="*/ 123909 h 2259434"/>
                <a:gd name="connsiteX6" fmla="*/ 3437725 w 3437725"/>
                <a:gd name="connsiteY6" fmla="*/ 2195620 h 2259434"/>
                <a:gd name="connsiteX7" fmla="*/ 3313817 w 3437725"/>
                <a:gd name="connsiteY7" fmla="*/ 2259371 h 2259434"/>
                <a:gd name="connsiteX8" fmla="*/ 123909 w 3437725"/>
                <a:gd name="connsiteY8" fmla="*/ 2259371 h 225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37725" h="2259434">
                  <a:moveTo>
                    <a:pt x="123909" y="2259371"/>
                  </a:moveTo>
                  <a:cubicBezTo>
                    <a:pt x="55579" y="2259371"/>
                    <a:pt x="0" y="2263950"/>
                    <a:pt x="0" y="2195620"/>
                  </a:cubicBezTo>
                  <a:lnTo>
                    <a:pt x="0" y="123909"/>
                  </a:lnTo>
                  <a:cubicBezTo>
                    <a:pt x="0" y="55579"/>
                    <a:pt x="55579" y="0"/>
                    <a:pt x="123909" y="0"/>
                  </a:cubicBezTo>
                  <a:lnTo>
                    <a:pt x="3313817" y="0"/>
                  </a:lnTo>
                  <a:cubicBezTo>
                    <a:pt x="3382146" y="0"/>
                    <a:pt x="3437725" y="55579"/>
                    <a:pt x="3437725" y="123909"/>
                  </a:cubicBezTo>
                  <a:lnTo>
                    <a:pt x="3437725" y="2195620"/>
                  </a:lnTo>
                  <a:cubicBezTo>
                    <a:pt x="3437725" y="2263950"/>
                    <a:pt x="3382146" y="2259371"/>
                    <a:pt x="3313817" y="2259371"/>
                  </a:cubicBezTo>
                  <a:lnTo>
                    <a:pt x="123909" y="2259371"/>
                  </a:lnTo>
                  <a:close/>
                </a:path>
              </a:pathLst>
            </a:custGeom>
            <a:gradFill>
              <a:gsLst>
                <a:gs pos="0">
                  <a:srgbClr val="E6E6E6"/>
                </a:gs>
                <a:gs pos="36000">
                  <a:srgbClr val="4D4D4D"/>
                </a:gs>
                <a:gs pos="56000">
                  <a:srgbClr val="CCCCCC"/>
                </a:gs>
                <a:gs pos="76000">
                  <a:srgbClr val="575757"/>
                </a:gs>
                <a:gs pos="100000">
                  <a:srgbClr val="919191"/>
                </a:gs>
              </a:gsLst>
              <a:lin ang="0" scaled="1"/>
            </a:gra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633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99457D6-5F23-A440-FA71-F5DA1695B05F}"/>
                </a:ext>
              </a:extLst>
            </p:cNvPr>
            <p:cNvSpPr/>
            <p:nvPr/>
          </p:nvSpPr>
          <p:spPr>
            <a:xfrm>
              <a:off x="1650498" y="3935972"/>
              <a:ext cx="3437725" cy="2259434"/>
            </a:xfrm>
            <a:custGeom>
              <a:avLst/>
              <a:gdLst>
                <a:gd name="connsiteX0" fmla="*/ 123909 w 3437725"/>
                <a:gd name="connsiteY0" fmla="*/ 2259371 h 2259434"/>
                <a:gd name="connsiteX1" fmla="*/ 0 w 3437725"/>
                <a:gd name="connsiteY1" fmla="*/ 2195620 h 2259434"/>
                <a:gd name="connsiteX2" fmla="*/ 0 w 3437725"/>
                <a:gd name="connsiteY2" fmla="*/ 123909 h 2259434"/>
                <a:gd name="connsiteX3" fmla="*/ 123909 w 3437725"/>
                <a:gd name="connsiteY3" fmla="*/ 0 h 2259434"/>
                <a:gd name="connsiteX4" fmla="*/ 3313817 w 3437725"/>
                <a:gd name="connsiteY4" fmla="*/ 0 h 2259434"/>
                <a:gd name="connsiteX5" fmla="*/ 3437725 w 3437725"/>
                <a:gd name="connsiteY5" fmla="*/ 123909 h 2259434"/>
                <a:gd name="connsiteX6" fmla="*/ 3437725 w 3437725"/>
                <a:gd name="connsiteY6" fmla="*/ 2195620 h 2259434"/>
                <a:gd name="connsiteX7" fmla="*/ 3313817 w 3437725"/>
                <a:gd name="connsiteY7" fmla="*/ 2259371 h 2259434"/>
                <a:gd name="connsiteX8" fmla="*/ 123909 w 3437725"/>
                <a:gd name="connsiteY8" fmla="*/ 2259371 h 225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37725" h="2259434">
                  <a:moveTo>
                    <a:pt x="123909" y="2259371"/>
                  </a:moveTo>
                  <a:cubicBezTo>
                    <a:pt x="55579" y="2259371"/>
                    <a:pt x="0" y="2263950"/>
                    <a:pt x="0" y="2195620"/>
                  </a:cubicBezTo>
                  <a:lnTo>
                    <a:pt x="0" y="123909"/>
                  </a:lnTo>
                  <a:cubicBezTo>
                    <a:pt x="0" y="55579"/>
                    <a:pt x="55579" y="0"/>
                    <a:pt x="123909" y="0"/>
                  </a:cubicBezTo>
                  <a:lnTo>
                    <a:pt x="3313817" y="0"/>
                  </a:lnTo>
                  <a:cubicBezTo>
                    <a:pt x="3382146" y="0"/>
                    <a:pt x="3437725" y="55579"/>
                    <a:pt x="3437725" y="123909"/>
                  </a:cubicBezTo>
                  <a:lnTo>
                    <a:pt x="3437725" y="2195620"/>
                  </a:lnTo>
                  <a:cubicBezTo>
                    <a:pt x="3437725" y="2263950"/>
                    <a:pt x="3382146" y="2259371"/>
                    <a:pt x="3313817" y="2259371"/>
                  </a:cubicBezTo>
                  <a:lnTo>
                    <a:pt x="123909" y="2259371"/>
                  </a:lnTo>
                  <a:close/>
                </a:path>
              </a:pathLst>
            </a:custGeom>
            <a:solidFill>
              <a:srgbClr val="000000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633"/>
            </a:p>
          </p:txBody>
        </p:sp>
        <p:grpSp>
          <p:nvGrpSpPr>
            <p:cNvPr id="40" name="Graphic 2">
              <a:extLst>
                <a:ext uri="{FF2B5EF4-FFF2-40B4-BE49-F238E27FC236}">
                  <a16:creationId xmlns:a16="http://schemas.microsoft.com/office/drawing/2014/main" id="{FF6E914E-B9A0-0339-BF2B-96CA4AEE41A6}"/>
                </a:ext>
              </a:extLst>
            </p:cNvPr>
            <p:cNvGrpSpPr/>
            <p:nvPr/>
          </p:nvGrpSpPr>
          <p:grpSpPr>
            <a:xfrm>
              <a:off x="1655461" y="3940304"/>
              <a:ext cx="3426565" cy="2251885"/>
              <a:chOff x="1655461" y="3940304"/>
              <a:chExt cx="3426565" cy="2251885"/>
            </a:xfrm>
          </p:grpSpPr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0338B6BE-9A68-4041-2E90-296F2F63D172}"/>
                  </a:ext>
                </a:extLst>
              </p:cNvPr>
              <p:cNvSpPr/>
              <p:nvPr/>
            </p:nvSpPr>
            <p:spPr>
              <a:xfrm>
                <a:off x="1678740" y="3940304"/>
                <a:ext cx="3403286" cy="2228359"/>
              </a:xfrm>
              <a:custGeom>
                <a:avLst/>
                <a:gdLst>
                  <a:gd name="connsiteX0" fmla="*/ 3403286 w 3403286"/>
                  <a:gd name="connsiteY0" fmla="*/ 112749 h 2228359"/>
                  <a:gd name="connsiteX1" fmla="*/ 3290565 w 3403286"/>
                  <a:gd name="connsiteY1" fmla="*/ 0 h 2228359"/>
                  <a:gd name="connsiteX2" fmla="*/ 97723 w 3403286"/>
                  <a:gd name="connsiteY2" fmla="*/ 0 h 2228359"/>
                  <a:gd name="connsiteX3" fmla="*/ 0 w 3403286"/>
                  <a:gd name="connsiteY3" fmla="*/ 56567 h 2228359"/>
                  <a:gd name="connsiteX4" fmla="*/ 89497 w 3403286"/>
                  <a:gd name="connsiteY4" fmla="*/ 12366 h 2228359"/>
                  <a:gd name="connsiteX5" fmla="*/ 3282284 w 3403286"/>
                  <a:gd name="connsiteY5" fmla="*/ 12366 h 2228359"/>
                  <a:gd name="connsiteX6" fmla="*/ 3395033 w 3403286"/>
                  <a:gd name="connsiteY6" fmla="*/ 125115 h 2228359"/>
                  <a:gd name="connsiteX7" fmla="*/ 3395033 w 3403286"/>
                  <a:gd name="connsiteY7" fmla="*/ 2198774 h 2228359"/>
                  <a:gd name="connsiteX8" fmla="*/ 3384312 w 3403286"/>
                  <a:gd name="connsiteY8" fmla="*/ 2228359 h 2228359"/>
                  <a:gd name="connsiteX9" fmla="*/ 3403259 w 3403286"/>
                  <a:gd name="connsiteY9" fmla="*/ 2186407 h 2228359"/>
                  <a:gd name="connsiteX10" fmla="*/ 3403259 w 3403286"/>
                  <a:gd name="connsiteY10" fmla="*/ 112749 h 2228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03286" h="2228359">
                    <a:moveTo>
                      <a:pt x="3403286" y="112749"/>
                    </a:moveTo>
                    <a:cubicBezTo>
                      <a:pt x="3403286" y="50479"/>
                      <a:pt x="3352807" y="0"/>
                      <a:pt x="3290565" y="0"/>
                    </a:cubicBezTo>
                    <a:lnTo>
                      <a:pt x="97723" y="0"/>
                    </a:lnTo>
                    <a:cubicBezTo>
                      <a:pt x="55908" y="0"/>
                      <a:pt x="19468" y="22786"/>
                      <a:pt x="0" y="56567"/>
                    </a:cubicBezTo>
                    <a:cubicBezTo>
                      <a:pt x="20620" y="29695"/>
                      <a:pt x="53029" y="12366"/>
                      <a:pt x="89497" y="12366"/>
                    </a:cubicBezTo>
                    <a:lnTo>
                      <a:pt x="3282284" y="12366"/>
                    </a:lnTo>
                    <a:cubicBezTo>
                      <a:pt x="3344554" y="12366"/>
                      <a:pt x="3395033" y="62846"/>
                      <a:pt x="3395033" y="125115"/>
                    </a:cubicBezTo>
                    <a:lnTo>
                      <a:pt x="3395033" y="2198774"/>
                    </a:lnTo>
                    <a:cubicBezTo>
                      <a:pt x="3395033" y="2219256"/>
                      <a:pt x="3393854" y="2211825"/>
                      <a:pt x="3384312" y="2228359"/>
                    </a:cubicBezTo>
                    <a:cubicBezTo>
                      <a:pt x="3398872" y="2209357"/>
                      <a:pt x="3403259" y="2212182"/>
                      <a:pt x="3403259" y="2186407"/>
                    </a:cubicBezTo>
                    <a:lnTo>
                      <a:pt x="3403259" y="112749"/>
                    </a:lnTo>
                    <a:close/>
                  </a:path>
                </a:pathLst>
              </a:custGeom>
              <a:gradFill>
                <a:gsLst>
                  <a:gs pos="0">
                    <a:srgbClr val="919191"/>
                  </a:gs>
                  <a:gs pos="17000">
                    <a:srgbClr val="979797"/>
                  </a:gs>
                  <a:gs pos="40000">
                    <a:srgbClr val="A9A9A9"/>
                  </a:gs>
                  <a:gs pos="67000">
                    <a:srgbClr val="C7C7C7"/>
                  </a:gs>
                  <a:gs pos="97000">
                    <a:srgbClr val="EFEFEF"/>
                  </a:gs>
                  <a:gs pos="100000">
                    <a:srgbClr val="F5F5F5"/>
                  </a:gs>
                </a:gsLst>
                <a:lin ang="14099989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633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30CE862C-4C83-8A1E-CF78-A133D144DF3A}"/>
                  </a:ext>
                </a:extLst>
              </p:cNvPr>
              <p:cNvSpPr/>
              <p:nvPr/>
            </p:nvSpPr>
            <p:spPr>
              <a:xfrm>
                <a:off x="1655461" y="3996871"/>
                <a:ext cx="3415487" cy="2195318"/>
              </a:xfrm>
              <a:custGeom>
                <a:avLst/>
                <a:gdLst>
                  <a:gd name="connsiteX0" fmla="*/ 3313816 w 3415487"/>
                  <a:gd name="connsiteY0" fmla="*/ 2182404 h 2195318"/>
                  <a:gd name="connsiteX1" fmla="*/ 121002 w 3415487"/>
                  <a:gd name="connsiteY1" fmla="*/ 2182404 h 2195318"/>
                  <a:gd name="connsiteX2" fmla="*/ 8253 w 3415487"/>
                  <a:gd name="connsiteY2" fmla="*/ 2129841 h 2195318"/>
                  <a:gd name="connsiteX3" fmla="*/ 8253 w 3415487"/>
                  <a:gd name="connsiteY3" fmla="*/ 56183 h 2195318"/>
                  <a:gd name="connsiteX4" fmla="*/ 23252 w 3415487"/>
                  <a:gd name="connsiteY4" fmla="*/ 0 h 2195318"/>
                  <a:gd name="connsiteX5" fmla="*/ 0 w 3415487"/>
                  <a:gd name="connsiteY5" fmla="*/ 68549 h 2195318"/>
                  <a:gd name="connsiteX6" fmla="*/ 0 w 3415487"/>
                  <a:gd name="connsiteY6" fmla="*/ 2142207 h 2195318"/>
                  <a:gd name="connsiteX7" fmla="*/ 112749 w 3415487"/>
                  <a:gd name="connsiteY7" fmla="*/ 2194770 h 2195318"/>
                  <a:gd name="connsiteX8" fmla="*/ 3305536 w 3415487"/>
                  <a:gd name="connsiteY8" fmla="*/ 2194770 h 2195318"/>
                  <a:gd name="connsiteX9" fmla="*/ 3415488 w 3415487"/>
                  <a:gd name="connsiteY9" fmla="*/ 2151502 h 2195318"/>
                  <a:gd name="connsiteX10" fmla="*/ 3313789 w 3415487"/>
                  <a:gd name="connsiteY10" fmla="*/ 2182432 h 2195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15487" h="2195318">
                    <a:moveTo>
                      <a:pt x="3313816" y="2182404"/>
                    </a:moveTo>
                    <a:lnTo>
                      <a:pt x="121002" y="2182404"/>
                    </a:lnTo>
                    <a:cubicBezTo>
                      <a:pt x="58733" y="2182404"/>
                      <a:pt x="8253" y="2192111"/>
                      <a:pt x="8253" y="2129841"/>
                    </a:cubicBezTo>
                    <a:lnTo>
                      <a:pt x="8253" y="56183"/>
                    </a:lnTo>
                    <a:cubicBezTo>
                      <a:pt x="8253" y="35728"/>
                      <a:pt x="13737" y="16534"/>
                      <a:pt x="23252" y="0"/>
                    </a:cubicBezTo>
                    <a:cubicBezTo>
                      <a:pt x="8665" y="19002"/>
                      <a:pt x="0" y="42747"/>
                      <a:pt x="0" y="68549"/>
                    </a:cubicBezTo>
                    <a:lnTo>
                      <a:pt x="0" y="2142207"/>
                    </a:lnTo>
                    <a:cubicBezTo>
                      <a:pt x="0" y="2204477"/>
                      <a:pt x="50479" y="2194770"/>
                      <a:pt x="112749" y="2194770"/>
                    </a:cubicBezTo>
                    <a:lnTo>
                      <a:pt x="3305536" y="2194770"/>
                    </a:lnTo>
                    <a:cubicBezTo>
                      <a:pt x="3347350" y="2194770"/>
                      <a:pt x="3396020" y="2185283"/>
                      <a:pt x="3415488" y="2151502"/>
                    </a:cubicBezTo>
                    <a:cubicBezTo>
                      <a:pt x="3394869" y="2178346"/>
                      <a:pt x="3350230" y="2182432"/>
                      <a:pt x="3313789" y="2182432"/>
                    </a:cubicBezTo>
                    <a:close/>
                  </a:path>
                </a:pathLst>
              </a:custGeom>
              <a:gradFill>
                <a:gsLst>
                  <a:gs pos="0">
                    <a:srgbClr val="E6E6E6"/>
                  </a:gs>
                  <a:gs pos="36000">
                    <a:srgbClr val="4D4D4D"/>
                  </a:gs>
                  <a:gs pos="56000">
                    <a:srgbClr val="CCCCCC"/>
                  </a:gs>
                  <a:gs pos="100000">
                    <a:srgbClr val="919191"/>
                  </a:gs>
                </a:gsLst>
                <a:lin ang="14099993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633"/>
              </a:p>
            </p:txBody>
          </p:sp>
        </p:grpSp>
        <p:grpSp>
          <p:nvGrpSpPr>
            <p:cNvPr id="42" name="Graphic 2">
              <a:extLst>
                <a:ext uri="{FF2B5EF4-FFF2-40B4-BE49-F238E27FC236}">
                  <a16:creationId xmlns:a16="http://schemas.microsoft.com/office/drawing/2014/main" id="{F91F9B77-C4FD-75BB-1D1F-4BD284A6253A}"/>
                </a:ext>
              </a:extLst>
            </p:cNvPr>
            <p:cNvGrpSpPr/>
            <p:nvPr/>
          </p:nvGrpSpPr>
          <p:grpSpPr>
            <a:xfrm>
              <a:off x="1672735" y="3864105"/>
              <a:ext cx="3496677" cy="2460547"/>
              <a:chOff x="1672735" y="3864105"/>
              <a:chExt cx="3496677" cy="2460547"/>
            </a:xfrm>
          </p:grpSpPr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AD87D8F8-4BD3-9E2C-A692-D72DB75B8897}"/>
                  </a:ext>
                </a:extLst>
              </p:cNvPr>
              <p:cNvSpPr/>
              <p:nvPr/>
            </p:nvSpPr>
            <p:spPr>
              <a:xfrm>
                <a:off x="1672735" y="3961801"/>
                <a:ext cx="3393278" cy="2216967"/>
              </a:xfrm>
              <a:custGeom>
                <a:avLst/>
                <a:gdLst>
                  <a:gd name="connsiteX0" fmla="*/ 90759 w 3393278"/>
                  <a:gd name="connsiteY0" fmla="*/ 2207767 h 2216967"/>
                  <a:gd name="connsiteX1" fmla="*/ 0 w 3393278"/>
                  <a:gd name="connsiteY1" fmla="*/ 2177195 h 2216967"/>
                  <a:gd name="connsiteX2" fmla="*/ 0 w 3393278"/>
                  <a:gd name="connsiteY2" fmla="*/ 90759 h 2216967"/>
                  <a:gd name="connsiteX3" fmla="*/ 90759 w 3393278"/>
                  <a:gd name="connsiteY3" fmla="*/ 0 h 2216967"/>
                  <a:gd name="connsiteX4" fmla="*/ 3302520 w 3393278"/>
                  <a:gd name="connsiteY4" fmla="*/ 0 h 2216967"/>
                  <a:gd name="connsiteX5" fmla="*/ 3393278 w 3393278"/>
                  <a:gd name="connsiteY5" fmla="*/ 90759 h 2216967"/>
                  <a:gd name="connsiteX6" fmla="*/ 3393278 w 3393278"/>
                  <a:gd name="connsiteY6" fmla="*/ 2177195 h 2216967"/>
                  <a:gd name="connsiteX7" fmla="*/ 3302931 w 3393278"/>
                  <a:gd name="connsiteY7" fmla="*/ 2215856 h 2216967"/>
                  <a:gd name="connsiteX8" fmla="*/ 90786 w 3393278"/>
                  <a:gd name="connsiteY8" fmla="*/ 2207794 h 2216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93278" h="2216967">
                    <a:moveTo>
                      <a:pt x="90759" y="2207767"/>
                    </a:moveTo>
                    <a:cubicBezTo>
                      <a:pt x="40718" y="2207767"/>
                      <a:pt x="0" y="2227235"/>
                      <a:pt x="0" y="2177195"/>
                    </a:cubicBezTo>
                    <a:lnTo>
                      <a:pt x="0" y="90759"/>
                    </a:lnTo>
                    <a:cubicBezTo>
                      <a:pt x="0" y="40718"/>
                      <a:pt x="40718" y="0"/>
                      <a:pt x="90759" y="0"/>
                    </a:cubicBezTo>
                    <a:lnTo>
                      <a:pt x="3302520" y="0"/>
                    </a:lnTo>
                    <a:cubicBezTo>
                      <a:pt x="3352560" y="0"/>
                      <a:pt x="3393278" y="40718"/>
                      <a:pt x="3393278" y="90759"/>
                    </a:cubicBezTo>
                    <a:lnTo>
                      <a:pt x="3393278" y="2177195"/>
                    </a:lnTo>
                    <a:cubicBezTo>
                      <a:pt x="3393278" y="2227235"/>
                      <a:pt x="3352971" y="2215856"/>
                      <a:pt x="3302931" y="2215856"/>
                    </a:cubicBezTo>
                    <a:lnTo>
                      <a:pt x="90786" y="2207794"/>
                    </a:lnTo>
                    <a:close/>
                  </a:path>
                </a:pathLst>
              </a:custGeom>
              <a:solidFill>
                <a:srgbClr val="00000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633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83FCA202-5531-DA05-67A1-D587EB3DF2D5}"/>
                  </a:ext>
                </a:extLst>
              </p:cNvPr>
              <p:cNvSpPr/>
              <p:nvPr/>
            </p:nvSpPr>
            <p:spPr>
              <a:xfrm>
                <a:off x="3175134" y="3864105"/>
                <a:ext cx="1994278" cy="2460547"/>
              </a:xfrm>
              <a:custGeom>
                <a:avLst/>
                <a:gdLst>
                  <a:gd name="connsiteX0" fmla="*/ 1809608 w 1994278"/>
                  <a:gd name="connsiteY0" fmla="*/ 0 h 2460547"/>
                  <a:gd name="connsiteX1" fmla="*/ 0 w 1994278"/>
                  <a:gd name="connsiteY1" fmla="*/ 274 h 2460547"/>
                  <a:gd name="connsiteX2" fmla="*/ 701447 w 1994278"/>
                  <a:gd name="connsiteY2" fmla="*/ 2460548 h 2460547"/>
                  <a:gd name="connsiteX3" fmla="*/ 1809608 w 1994278"/>
                  <a:gd name="connsiteY3" fmla="*/ 2460274 h 2460547"/>
                  <a:gd name="connsiteX4" fmla="*/ 1994278 w 1994278"/>
                  <a:gd name="connsiteY4" fmla="*/ 2303105 h 2460547"/>
                  <a:gd name="connsiteX5" fmla="*/ 1994278 w 1994278"/>
                  <a:gd name="connsiteY5" fmla="*/ 157169 h 2460547"/>
                  <a:gd name="connsiteX6" fmla="*/ 1809608 w 1994278"/>
                  <a:gd name="connsiteY6" fmla="*/ 0 h 2460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94278" h="2460547">
                    <a:moveTo>
                      <a:pt x="1809608" y="0"/>
                    </a:moveTo>
                    <a:lnTo>
                      <a:pt x="0" y="274"/>
                    </a:lnTo>
                    <a:lnTo>
                      <a:pt x="701447" y="2460548"/>
                    </a:lnTo>
                    <a:lnTo>
                      <a:pt x="1809608" y="2460274"/>
                    </a:lnTo>
                    <a:cubicBezTo>
                      <a:pt x="1911581" y="2460274"/>
                      <a:pt x="1994278" y="2389888"/>
                      <a:pt x="1994278" y="2303105"/>
                    </a:cubicBezTo>
                    <a:lnTo>
                      <a:pt x="1994278" y="157169"/>
                    </a:lnTo>
                    <a:cubicBezTo>
                      <a:pt x="1994278" y="70358"/>
                      <a:pt x="1911608" y="0"/>
                      <a:pt x="1809608" y="0"/>
                    </a:cubicBezTo>
                    <a:close/>
                  </a:path>
                </a:pathLst>
              </a:custGeom>
              <a:solidFill>
                <a:srgbClr val="FFFFFF">
                  <a:alpha val="5000"/>
                </a:srgbClr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633"/>
              </a:p>
            </p:txBody>
          </p:sp>
        </p:grp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976B8EB-5E8E-EC8E-04C5-C9A67146192D}"/>
                </a:ext>
              </a:extLst>
            </p:cNvPr>
            <p:cNvSpPr/>
            <p:nvPr/>
          </p:nvSpPr>
          <p:spPr>
            <a:xfrm>
              <a:off x="1672735" y="6067732"/>
              <a:ext cx="3393250" cy="7732"/>
            </a:xfrm>
            <a:custGeom>
              <a:avLst/>
              <a:gdLst>
                <a:gd name="connsiteX0" fmla="*/ 0 w 3393250"/>
                <a:gd name="connsiteY0" fmla="*/ 0 h 7732"/>
                <a:gd name="connsiteX1" fmla="*/ 3393251 w 3393250"/>
                <a:gd name="connsiteY1" fmla="*/ 0 h 7732"/>
                <a:gd name="connsiteX2" fmla="*/ 3393251 w 3393250"/>
                <a:gd name="connsiteY2" fmla="*/ 7732 h 7732"/>
                <a:gd name="connsiteX3" fmla="*/ 0 w 3393250"/>
                <a:gd name="connsiteY3" fmla="*/ 7732 h 7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3250" h="7732">
                  <a:moveTo>
                    <a:pt x="0" y="0"/>
                  </a:moveTo>
                  <a:lnTo>
                    <a:pt x="3393251" y="0"/>
                  </a:lnTo>
                  <a:lnTo>
                    <a:pt x="3393251" y="7732"/>
                  </a:lnTo>
                  <a:lnTo>
                    <a:pt x="0" y="7732"/>
                  </a:lnTo>
                  <a:close/>
                </a:path>
              </a:pathLst>
            </a:custGeom>
            <a:solidFill>
              <a:srgbClr val="404041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633"/>
            </a:p>
          </p:txBody>
        </p:sp>
        <p:grpSp>
          <p:nvGrpSpPr>
            <p:cNvPr id="44" name="Graphic 2">
              <a:extLst>
                <a:ext uri="{FF2B5EF4-FFF2-40B4-BE49-F238E27FC236}">
                  <a16:creationId xmlns:a16="http://schemas.microsoft.com/office/drawing/2014/main" id="{DD7B08EB-D957-4F4A-E8A0-EEAE7D512194}"/>
                </a:ext>
              </a:extLst>
            </p:cNvPr>
            <p:cNvGrpSpPr/>
            <p:nvPr/>
          </p:nvGrpSpPr>
          <p:grpSpPr>
            <a:xfrm>
              <a:off x="3355034" y="3982421"/>
              <a:ext cx="28680" cy="28872"/>
              <a:chOff x="3355034" y="3982421"/>
              <a:chExt cx="28680" cy="28872"/>
            </a:xfrm>
          </p:grpSpPr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D5534CA4-5064-4D10-DF6D-DF3CF9741B71}"/>
                  </a:ext>
                </a:extLst>
              </p:cNvPr>
              <p:cNvSpPr/>
              <p:nvPr/>
            </p:nvSpPr>
            <p:spPr>
              <a:xfrm>
                <a:off x="3355746" y="3983325"/>
                <a:ext cx="27967" cy="27967"/>
              </a:xfrm>
              <a:custGeom>
                <a:avLst/>
                <a:gdLst>
                  <a:gd name="connsiteX0" fmla="*/ 27968 w 27967"/>
                  <a:gd name="connsiteY0" fmla="*/ 13984 h 27967"/>
                  <a:gd name="connsiteX1" fmla="*/ 13984 w 27967"/>
                  <a:gd name="connsiteY1" fmla="*/ 0 h 27967"/>
                  <a:gd name="connsiteX2" fmla="*/ 0 w 27967"/>
                  <a:gd name="connsiteY2" fmla="*/ 13984 h 27967"/>
                  <a:gd name="connsiteX3" fmla="*/ 13984 w 27967"/>
                  <a:gd name="connsiteY3" fmla="*/ 27968 h 27967"/>
                  <a:gd name="connsiteX4" fmla="*/ 27968 w 27967"/>
                  <a:gd name="connsiteY4" fmla="*/ 13984 h 27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967" h="27967">
                    <a:moveTo>
                      <a:pt x="27968" y="13984"/>
                    </a:moveTo>
                    <a:cubicBezTo>
                      <a:pt x="27968" y="6252"/>
                      <a:pt x="21689" y="0"/>
                      <a:pt x="13984" y="0"/>
                    </a:cubicBezTo>
                    <a:cubicBezTo>
                      <a:pt x="6279" y="0"/>
                      <a:pt x="0" y="6279"/>
                      <a:pt x="0" y="13984"/>
                    </a:cubicBezTo>
                    <a:cubicBezTo>
                      <a:pt x="0" y="21689"/>
                      <a:pt x="6252" y="27968"/>
                      <a:pt x="13984" y="27968"/>
                    </a:cubicBezTo>
                    <a:cubicBezTo>
                      <a:pt x="21716" y="27968"/>
                      <a:pt x="27968" y="21689"/>
                      <a:pt x="27968" y="13984"/>
                    </a:cubicBezTo>
                    <a:close/>
                  </a:path>
                </a:pathLst>
              </a:custGeom>
              <a:solidFill>
                <a:srgbClr val="58595B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633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0A6A1C40-E16B-17C8-06CF-E68889D98024}"/>
                  </a:ext>
                </a:extLst>
              </p:cNvPr>
              <p:cNvSpPr/>
              <p:nvPr/>
            </p:nvSpPr>
            <p:spPr>
              <a:xfrm>
                <a:off x="3355034" y="3982421"/>
                <a:ext cx="27967" cy="27967"/>
              </a:xfrm>
              <a:custGeom>
                <a:avLst/>
                <a:gdLst>
                  <a:gd name="connsiteX0" fmla="*/ 27968 w 27967"/>
                  <a:gd name="connsiteY0" fmla="*/ 13984 h 27967"/>
                  <a:gd name="connsiteX1" fmla="*/ 13984 w 27967"/>
                  <a:gd name="connsiteY1" fmla="*/ 27968 h 27967"/>
                  <a:gd name="connsiteX2" fmla="*/ 0 w 27967"/>
                  <a:gd name="connsiteY2" fmla="*/ 13984 h 27967"/>
                  <a:gd name="connsiteX3" fmla="*/ 13984 w 27967"/>
                  <a:gd name="connsiteY3" fmla="*/ 0 h 27967"/>
                  <a:gd name="connsiteX4" fmla="*/ 27968 w 27967"/>
                  <a:gd name="connsiteY4" fmla="*/ 13984 h 27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967" h="27967">
                    <a:moveTo>
                      <a:pt x="27968" y="13984"/>
                    </a:moveTo>
                    <a:cubicBezTo>
                      <a:pt x="27968" y="21707"/>
                      <a:pt x="21707" y="27968"/>
                      <a:pt x="13984" y="27968"/>
                    </a:cubicBezTo>
                    <a:cubicBezTo>
                      <a:pt x="6261" y="27968"/>
                      <a:pt x="0" y="21707"/>
                      <a:pt x="0" y="13984"/>
                    </a:cubicBezTo>
                    <a:cubicBezTo>
                      <a:pt x="0" y="6261"/>
                      <a:pt x="6261" y="0"/>
                      <a:pt x="13984" y="0"/>
                    </a:cubicBezTo>
                    <a:cubicBezTo>
                      <a:pt x="21707" y="0"/>
                      <a:pt x="27968" y="6261"/>
                      <a:pt x="27968" y="13984"/>
                    </a:cubicBezTo>
                    <a:close/>
                  </a:path>
                </a:pathLst>
              </a:custGeom>
              <a:solidFill>
                <a:srgbClr val="8F8F8F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633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4E053C4D-0EC8-2A2A-D01C-E7BAE4C3349C}"/>
                  </a:ext>
                </a:extLst>
              </p:cNvPr>
              <p:cNvSpPr/>
              <p:nvPr/>
            </p:nvSpPr>
            <p:spPr>
              <a:xfrm>
                <a:off x="3357035" y="3984422"/>
                <a:ext cx="23964" cy="23964"/>
              </a:xfrm>
              <a:custGeom>
                <a:avLst/>
                <a:gdLst>
                  <a:gd name="connsiteX0" fmla="*/ 23965 w 23964"/>
                  <a:gd name="connsiteY0" fmla="*/ 11982 h 23964"/>
                  <a:gd name="connsiteX1" fmla="*/ 11982 w 23964"/>
                  <a:gd name="connsiteY1" fmla="*/ 23965 h 23964"/>
                  <a:gd name="connsiteX2" fmla="*/ 0 w 23964"/>
                  <a:gd name="connsiteY2" fmla="*/ 11982 h 23964"/>
                  <a:gd name="connsiteX3" fmla="*/ 11982 w 23964"/>
                  <a:gd name="connsiteY3" fmla="*/ 0 h 23964"/>
                  <a:gd name="connsiteX4" fmla="*/ 23965 w 23964"/>
                  <a:gd name="connsiteY4" fmla="*/ 11982 h 23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964" h="23964">
                    <a:moveTo>
                      <a:pt x="23965" y="11982"/>
                    </a:moveTo>
                    <a:cubicBezTo>
                      <a:pt x="23965" y="18600"/>
                      <a:pt x="18600" y="23965"/>
                      <a:pt x="11982" y="23965"/>
                    </a:cubicBezTo>
                    <a:cubicBezTo>
                      <a:pt x="5365" y="23965"/>
                      <a:pt x="0" y="18600"/>
                      <a:pt x="0" y="11982"/>
                    </a:cubicBezTo>
                    <a:cubicBezTo>
                      <a:pt x="0" y="5365"/>
                      <a:pt x="5365" y="0"/>
                      <a:pt x="11982" y="0"/>
                    </a:cubicBezTo>
                    <a:cubicBezTo>
                      <a:pt x="18600" y="0"/>
                      <a:pt x="23965" y="5365"/>
                      <a:pt x="23965" y="11982"/>
                    </a:cubicBezTo>
                    <a:close/>
                  </a:path>
                </a:pathLst>
              </a:custGeom>
              <a:solidFill>
                <a:srgbClr val="231F2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633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1CEDF13D-CF35-3E56-496A-4AD09C07998D}"/>
                  </a:ext>
                </a:extLst>
              </p:cNvPr>
              <p:cNvSpPr/>
              <p:nvPr/>
            </p:nvSpPr>
            <p:spPr>
              <a:xfrm>
                <a:off x="3360874" y="3988261"/>
                <a:ext cx="16287" cy="16287"/>
              </a:xfrm>
              <a:custGeom>
                <a:avLst/>
                <a:gdLst>
                  <a:gd name="connsiteX0" fmla="*/ 16287 w 16287"/>
                  <a:gd name="connsiteY0" fmla="*/ 8144 h 16287"/>
                  <a:gd name="connsiteX1" fmla="*/ 8144 w 16287"/>
                  <a:gd name="connsiteY1" fmla="*/ 16287 h 16287"/>
                  <a:gd name="connsiteX2" fmla="*/ 0 w 16287"/>
                  <a:gd name="connsiteY2" fmla="*/ 8144 h 16287"/>
                  <a:gd name="connsiteX3" fmla="*/ 8144 w 16287"/>
                  <a:gd name="connsiteY3" fmla="*/ 0 h 16287"/>
                  <a:gd name="connsiteX4" fmla="*/ 16287 w 16287"/>
                  <a:gd name="connsiteY4" fmla="*/ 8144 h 16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87" h="16287">
                    <a:moveTo>
                      <a:pt x="16287" y="8144"/>
                    </a:moveTo>
                    <a:cubicBezTo>
                      <a:pt x="16287" y="12641"/>
                      <a:pt x="12641" y="16287"/>
                      <a:pt x="8144" y="16287"/>
                    </a:cubicBezTo>
                    <a:cubicBezTo>
                      <a:pt x="3646" y="16287"/>
                      <a:pt x="0" y="12641"/>
                      <a:pt x="0" y="8144"/>
                    </a:cubicBezTo>
                    <a:cubicBezTo>
                      <a:pt x="0" y="3646"/>
                      <a:pt x="3646" y="0"/>
                      <a:pt x="8144" y="0"/>
                    </a:cubicBezTo>
                    <a:cubicBezTo>
                      <a:pt x="12641" y="0"/>
                      <a:pt x="16287" y="3646"/>
                      <a:pt x="16287" y="8144"/>
                    </a:cubicBezTo>
                    <a:close/>
                  </a:path>
                </a:pathLst>
              </a:custGeom>
              <a:solidFill>
                <a:srgbClr val="454545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633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67886599-77AE-99EF-B8BB-0B2C62F736F8}"/>
                  </a:ext>
                </a:extLst>
              </p:cNvPr>
              <p:cNvSpPr/>
              <p:nvPr/>
            </p:nvSpPr>
            <p:spPr>
              <a:xfrm>
                <a:off x="3366742" y="3994129"/>
                <a:ext cx="4551" cy="4551"/>
              </a:xfrm>
              <a:custGeom>
                <a:avLst/>
                <a:gdLst>
                  <a:gd name="connsiteX0" fmla="*/ 4552 w 4551"/>
                  <a:gd name="connsiteY0" fmla="*/ 2276 h 4551"/>
                  <a:gd name="connsiteX1" fmla="*/ 2276 w 4551"/>
                  <a:gd name="connsiteY1" fmla="*/ 4552 h 4551"/>
                  <a:gd name="connsiteX2" fmla="*/ 0 w 4551"/>
                  <a:gd name="connsiteY2" fmla="*/ 2276 h 4551"/>
                  <a:gd name="connsiteX3" fmla="*/ 2276 w 4551"/>
                  <a:gd name="connsiteY3" fmla="*/ 0 h 4551"/>
                  <a:gd name="connsiteX4" fmla="*/ 4552 w 4551"/>
                  <a:gd name="connsiteY4" fmla="*/ 2276 h 4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51" h="4551">
                    <a:moveTo>
                      <a:pt x="4552" y="2276"/>
                    </a:moveTo>
                    <a:cubicBezTo>
                      <a:pt x="4552" y="3533"/>
                      <a:pt x="3533" y="4552"/>
                      <a:pt x="2276" y="4552"/>
                    </a:cubicBezTo>
                    <a:cubicBezTo>
                      <a:pt x="1019" y="4552"/>
                      <a:pt x="0" y="3533"/>
                      <a:pt x="0" y="2276"/>
                    </a:cubicBezTo>
                    <a:cubicBezTo>
                      <a:pt x="0" y="1019"/>
                      <a:pt x="1019" y="0"/>
                      <a:pt x="2276" y="0"/>
                    </a:cubicBezTo>
                    <a:cubicBezTo>
                      <a:pt x="3533" y="0"/>
                      <a:pt x="4552" y="1019"/>
                      <a:pt x="4552" y="2276"/>
                    </a:cubicBezTo>
                    <a:close/>
                  </a:path>
                </a:pathLst>
              </a:custGeom>
              <a:solidFill>
                <a:srgbClr val="00000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633"/>
              </a:p>
            </p:txBody>
          </p:sp>
        </p:grpSp>
        <p:grpSp>
          <p:nvGrpSpPr>
            <p:cNvPr id="45" name="Graphic 2">
              <a:extLst>
                <a:ext uri="{FF2B5EF4-FFF2-40B4-BE49-F238E27FC236}">
                  <a16:creationId xmlns:a16="http://schemas.microsoft.com/office/drawing/2014/main" id="{42CB035A-3E6E-1CF7-B5C2-DBA2EBDF80C8}"/>
                </a:ext>
              </a:extLst>
            </p:cNvPr>
            <p:cNvGrpSpPr/>
            <p:nvPr/>
          </p:nvGrpSpPr>
          <p:grpSpPr>
            <a:xfrm>
              <a:off x="1329003" y="6140915"/>
              <a:ext cx="4080768" cy="99615"/>
              <a:chOff x="1329003" y="6140915"/>
              <a:chExt cx="4080768" cy="99615"/>
            </a:xfrm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0C0CD505-D358-A8D3-E5B1-C5D76E409385}"/>
                  </a:ext>
                </a:extLst>
              </p:cNvPr>
              <p:cNvSpPr/>
              <p:nvPr/>
            </p:nvSpPr>
            <p:spPr>
              <a:xfrm>
                <a:off x="1329003" y="6140915"/>
                <a:ext cx="4080740" cy="48559"/>
              </a:xfrm>
              <a:custGeom>
                <a:avLst/>
                <a:gdLst>
                  <a:gd name="connsiteX0" fmla="*/ 4080741 w 4080740"/>
                  <a:gd name="connsiteY0" fmla="*/ 0 h 48559"/>
                  <a:gd name="connsiteX1" fmla="*/ 2040371 w 4080740"/>
                  <a:gd name="connsiteY1" fmla="*/ 0 h 48559"/>
                  <a:gd name="connsiteX2" fmla="*/ 0 w 4080740"/>
                  <a:gd name="connsiteY2" fmla="*/ 0 h 48559"/>
                  <a:gd name="connsiteX3" fmla="*/ 0 w 4080740"/>
                  <a:gd name="connsiteY3" fmla="*/ 48560 h 48559"/>
                  <a:gd name="connsiteX4" fmla="*/ 4080741 w 4080740"/>
                  <a:gd name="connsiteY4" fmla="*/ 48560 h 48559"/>
                  <a:gd name="connsiteX5" fmla="*/ 4080741 w 4080740"/>
                  <a:gd name="connsiteY5" fmla="*/ 0 h 48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80740" h="48559">
                    <a:moveTo>
                      <a:pt x="4080741" y="0"/>
                    </a:moveTo>
                    <a:lnTo>
                      <a:pt x="2040371" y="0"/>
                    </a:lnTo>
                    <a:lnTo>
                      <a:pt x="0" y="0"/>
                    </a:lnTo>
                    <a:lnTo>
                      <a:pt x="0" y="48560"/>
                    </a:lnTo>
                    <a:lnTo>
                      <a:pt x="4080741" y="48560"/>
                    </a:lnTo>
                    <a:lnTo>
                      <a:pt x="4080741" y="0"/>
                    </a:lnTo>
                    <a:close/>
                  </a:path>
                </a:pathLst>
              </a:custGeom>
              <a:solidFill>
                <a:srgbClr val="00000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633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6B840F8D-B34A-5A8D-7B8C-A186C9C3162A}"/>
                  </a:ext>
                </a:extLst>
              </p:cNvPr>
              <p:cNvSpPr/>
              <p:nvPr/>
            </p:nvSpPr>
            <p:spPr>
              <a:xfrm>
                <a:off x="1329003" y="6189475"/>
                <a:ext cx="4080768" cy="51055"/>
              </a:xfrm>
              <a:custGeom>
                <a:avLst/>
                <a:gdLst>
                  <a:gd name="connsiteX0" fmla="*/ 0 w 4080768"/>
                  <a:gd name="connsiteY0" fmla="*/ 0 h 51055"/>
                  <a:gd name="connsiteX1" fmla="*/ 0 w 4080768"/>
                  <a:gd name="connsiteY1" fmla="*/ 0 h 51055"/>
                  <a:gd name="connsiteX2" fmla="*/ 221385 w 4080768"/>
                  <a:gd name="connsiteY2" fmla="*/ 51001 h 51055"/>
                  <a:gd name="connsiteX3" fmla="*/ 2040398 w 4080768"/>
                  <a:gd name="connsiteY3" fmla="*/ 51055 h 51055"/>
                  <a:gd name="connsiteX4" fmla="*/ 3859383 w 4080768"/>
                  <a:gd name="connsiteY4" fmla="*/ 51001 h 51055"/>
                  <a:gd name="connsiteX5" fmla="*/ 4080769 w 4080768"/>
                  <a:gd name="connsiteY5" fmla="*/ 55 h 51055"/>
                  <a:gd name="connsiteX6" fmla="*/ 4080769 w 4080768"/>
                  <a:gd name="connsiteY6" fmla="*/ 55 h 51055"/>
                  <a:gd name="connsiteX7" fmla="*/ 0 w 4080768"/>
                  <a:gd name="connsiteY7" fmla="*/ 27 h 51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80768" h="51055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128269" y="52755"/>
                      <a:pt x="221385" y="51001"/>
                    </a:cubicBezTo>
                    <a:lnTo>
                      <a:pt x="2040398" y="51055"/>
                    </a:lnTo>
                    <a:lnTo>
                      <a:pt x="3859383" y="51001"/>
                    </a:lnTo>
                    <a:cubicBezTo>
                      <a:pt x="3952527" y="52755"/>
                      <a:pt x="4080769" y="55"/>
                      <a:pt x="4080769" y="55"/>
                    </a:cubicBezTo>
                    <a:lnTo>
                      <a:pt x="4080769" y="55"/>
                    </a:lnTo>
                    <a:cubicBezTo>
                      <a:pt x="4080769" y="55"/>
                      <a:pt x="0" y="27"/>
                      <a:pt x="0" y="27"/>
                    </a:cubicBezTo>
                    <a:close/>
                  </a:path>
                </a:pathLst>
              </a:custGeom>
              <a:solidFill>
                <a:srgbClr val="00000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633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A6D4A32E-8D66-4398-1D7E-FE26F35DA66F}"/>
                  </a:ext>
                </a:extLst>
              </p:cNvPr>
              <p:cNvSpPr/>
              <p:nvPr/>
            </p:nvSpPr>
            <p:spPr>
              <a:xfrm>
                <a:off x="5398886" y="6140915"/>
                <a:ext cx="10858" cy="48560"/>
              </a:xfrm>
              <a:custGeom>
                <a:avLst/>
                <a:gdLst>
                  <a:gd name="connsiteX0" fmla="*/ 0 w 10858"/>
                  <a:gd name="connsiteY0" fmla="*/ 0 h 48560"/>
                  <a:gd name="connsiteX1" fmla="*/ 10858 w 10858"/>
                  <a:gd name="connsiteY1" fmla="*/ 0 h 48560"/>
                  <a:gd name="connsiteX2" fmla="*/ 10858 w 10858"/>
                  <a:gd name="connsiteY2" fmla="*/ 48560 h 48560"/>
                  <a:gd name="connsiteX3" fmla="*/ 0 w 10858"/>
                  <a:gd name="connsiteY3" fmla="*/ 48560 h 48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58" h="48560">
                    <a:moveTo>
                      <a:pt x="0" y="0"/>
                    </a:moveTo>
                    <a:lnTo>
                      <a:pt x="10858" y="0"/>
                    </a:lnTo>
                    <a:lnTo>
                      <a:pt x="10858" y="48560"/>
                    </a:lnTo>
                    <a:lnTo>
                      <a:pt x="0" y="48560"/>
                    </a:lnTo>
                    <a:close/>
                  </a:path>
                </a:pathLst>
              </a:custGeom>
              <a:solidFill>
                <a:srgbClr val="E6E7E8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633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87C005DB-3273-6BAA-58AC-382C8A80921B}"/>
                  </a:ext>
                </a:extLst>
              </p:cNvPr>
              <p:cNvSpPr/>
              <p:nvPr/>
            </p:nvSpPr>
            <p:spPr>
              <a:xfrm>
                <a:off x="1329278" y="6140915"/>
                <a:ext cx="10858" cy="48560"/>
              </a:xfrm>
              <a:custGeom>
                <a:avLst/>
                <a:gdLst>
                  <a:gd name="connsiteX0" fmla="*/ 0 w 10858"/>
                  <a:gd name="connsiteY0" fmla="*/ 0 h 48560"/>
                  <a:gd name="connsiteX1" fmla="*/ 10858 w 10858"/>
                  <a:gd name="connsiteY1" fmla="*/ 0 h 48560"/>
                  <a:gd name="connsiteX2" fmla="*/ 10858 w 10858"/>
                  <a:gd name="connsiteY2" fmla="*/ 48560 h 48560"/>
                  <a:gd name="connsiteX3" fmla="*/ 0 w 10858"/>
                  <a:gd name="connsiteY3" fmla="*/ 48560 h 48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58" h="48560">
                    <a:moveTo>
                      <a:pt x="0" y="0"/>
                    </a:moveTo>
                    <a:lnTo>
                      <a:pt x="10858" y="0"/>
                    </a:lnTo>
                    <a:lnTo>
                      <a:pt x="10858" y="48560"/>
                    </a:lnTo>
                    <a:lnTo>
                      <a:pt x="0" y="48560"/>
                    </a:lnTo>
                    <a:close/>
                  </a:path>
                </a:pathLst>
              </a:custGeom>
              <a:solidFill>
                <a:srgbClr val="E6E7E8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633"/>
              </a:p>
            </p:txBody>
          </p:sp>
          <p:grpSp>
            <p:nvGrpSpPr>
              <p:cNvPr id="51" name="Graphic 2">
                <a:extLst>
                  <a:ext uri="{FF2B5EF4-FFF2-40B4-BE49-F238E27FC236}">
                    <a16:creationId xmlns:a16="http://schemas.microsoft.com/office/drawing/2014/main" id="{CB92F04D-CF08-5DBA-3BF0-A7780E94BC0D}"/>
                  </a:ext>
                </a:extLst>
              </p:cNvPr>
              <p:cNvGrpSpPr/>
              <p:nvPr/>
            </p:nvGrpSpPr>
            <p:grpSpPr>
              <a:xfrm>
                <a:off x="5069961" y="6151663"/>
                <a:ext cx="106223" cy="28872"/>
                <a:chOff x="5069961" y="6151663"/>
                <a:chExt cx="106223" cy="28872"/>
              </a:xfrm>
            </p:grpSpPr>
            <p:grpSp>
              <p:nvGrpSpPr>
                <p:cNvPr id="55" name="Graphic 2">
                  <a:extLst>
                    <a:ext uri="{FF2B5EF4-FFF2-40B4-BE49-F238E27FC236}">
                      <a16:creationId xmlns:a16="http://schemas.microsoft.com/office/drawing/2014/main" id="{533E5410-2D6B-ED24-F733-50E713E119DE}"/>
                    </a:ext>
                  </a:extLst>
                </p:cNvPr>
                <p:cNvGrpSpPr/>
                <p:nvPr/>
              </p:nvGrpSpPr>
              <p:grpSpPr>
                <a:xfrm>
                  <a:off x="5069961" y="6158765"/>
                  <a:ext cx="14559" cy="14669"/>
                  <a:chOff x="5069961" y="6158765"/>
                  <a:chExt cx="14559" cy="14669"/>
                </a:xfrm>
              </p:grpSpPr>
              <p:sp>
                <p:nvSpPr>
                  <p:cNvPr id="128" name="Freeform: Shape 127">
                    <a:extLst>
                      <a:ext uri="{FF2B5EF4-FFF2-40B4-BE49-F238E27FC236}">
                        <a16:creationId xmlns:a16="http://schemas.microsoft.com/office/drawing/2014/main" id="{2869E7A5-4509-BAE7-BC3C-0099993F9337}"/>
                      </a:ext>
                    </a:extLst>
                  </p:cNvPr>
                  <p:cNvSpPr/>
                  <p:nvPr/>
                </p:nvSpPr>
                <p:spPr>
                  <a:xfrm>
                    <a:off x="5070318" y="6159231"/>
                    <a:ext cx="14203" cy="14203"/>
                  </a:xfrm>
                  <a:custGeom>
                    <a:avLst/>
                    <a:gdLst>
                      <a:gd name="connsiteX0" fmla="*/ 14203 w 14203"/>
                      <a:gd name="connsiteY0" fmla="*/ 7102 h 14203"/>
                      <a:gd name="connsiteX1" fmla="*/ 7102 w 14203"/>
                      <a:gd name="connsiteY1" fmla="*/ 0 h 14203"/>
                      <a:gd name="connsiteX2" fmla="*/ 0 w 14203"/>
                      <a:gd name="connsiteY2" fmla="*/ 7102 h 14203"/>
                      <a:gd name="connsiteX3" fmla="*/ 7102 w 14203"/>
                      <a:gd name="connsiteY3" fmla="*/ 14203 h 14203"/>
                      <a:gd name="connsiteX4" fmla="*/ 14203 w 14203"/>
                      <a:gd name="connsiteY4" fmla="*/ 7102 h 14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203" h="14203">
                        <a:moveTo>
                          <a:pt x="14203" y="7102"/>
                        </a:moveTo>
                        <a:cubicBezTo>
                          <a:pt x="14203" y="3180"/>
                          <a:pt x="11023" y="0"/>
                          <a:pt x="7102" y="0"/>
                        </a:cubicBezTo>
                        <a:cubicBezTo>
                          <a:pt x="3181" y="0"/>
                          <a:pt x="0" y="3180"/>
                          <a:pt x="0" y="7102"/>
                        </a:cubicBezTo>
                        <a:cubicBezTo>
                          <a:pt x="0" y="11022"/>
                          <a:pt x="3181" y="14203"/>
                          <a:pt x="7102" y="14203"/>
                        </a:cubicBezTo>
                        <a:cubicBezTo>
                          <a:pt x="11023" y="14203"/>
                          <a:pt x="14203" y="11022"/>
                          <a:pt x="14203" y="7102"/>
                        </a:cubicBezTo>
                        <a:close/>
                      </a:path>
                    </a:pathLst>
                  </a:custGeom>
                  <a:solidFill>
                    <a:srgbClr val="58595B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633"/>
                  </a:p>
                </p:txBody>
              </p:sp>
              <p:sp>
                <p:nvSpPr>
                  <p:cNvPr id="129" name="Freeform: Shape 128">
                    <a:extLst>
                      <a:ext uri="{FF2B5EF4-FFF2-40B4-BE49-F238E27FC236}">
                        <a16:creationId xmlns:a16="http://schemas.microsoft.com/office/drawing/2014/main" id="{A9C85360-290E-903E-0BEA-5E6401F1D319}"/>
                      </a:ext>
                    </a:extLst>
                  </p:cNvPr>
                  <p:cNvSpPr/>
                  <p:nvPr/>
                </p:nvSpPr>
                <p:spPr>
                  <a:xfrm>
                    <a:off x="5069961" y="6158765"/>
                    <a:ext cx="14203" cy="14203"/>
                  </a:xfrm>
                  <a:custGeom>
                    <a:avLst/>
                    <a:gdLst>
                      <a:gd name="connsiteX0" fmla="*/ 14203 w 14203"/>
                      <a:gd name="connsiteY0" fmla="*/ 7102 h 14203"/>
                      <a:gd name="connsiteX1" fmla="*/ 7102 w 14203"/>
                      <a:gd name="connsiteY1" fmla="*/ 0 h 14203"/>
                      <a:gd name="connsiteX2" fmla="*/ 0 w 14203"/>
                      <a:gd name="connsiteY2" fmla="*/ 7102 h 14203"/>
                      <a:gd name="connsiteX3" fmla="*/ 7102 w 14203"/>
                      <a:gd name="connsiteY3" fmla="*/ 14203 h 14203"/>
                      <a:gd name="connsiteX4" fmla="*/ 14203 w 14203"/>
                      <a:gd name="connsiteY4" fmla="*/ 7102 h 14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203" h="14203">
                        <a:moveTo>
                          <a:pt x="14203" y="7102"/>
                        </a:moveTo>
                        <a:cubicBezTo>
                          <a:pt x="14203" y="3181"/>
                          <a:pt x="11023" y="0"/>
                          <a:pt x="7102" y="0"/>
                        </a:cubicBezTo>
                        <a:cubicBezTo>
                          <a:pt x="3181" y="0"/>
                          <a:pt x="0" y="3181"/>
                          <a:pt x="0" y="7102"/>
                        </a:cubicBezTo>
                        <a:cubicBezTo>
                          <a:pt x="0" y="11023"/>
                          <a:pt x="3181" y="14203"/>
                          <a:pt x="7102" y="14203"/>
                        </a:cubicBezTo>
                        <a:cubicBezTo>
                          <a:pt x="11023" y="14203"/>
                          <a:pt x="14203" y="11023"/>
                          <a:pt x="14203" y="7102"/>
                        </a:cubicBezTo>
                        <a:close/>
                      </a:path>
                    </a:pathLst>
                  </a:custGeom>
                  <a:solidFill>
                    <a:srgbClr val="BCBEC0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633"/>
                  </a:p>
                </p:txBody>
              </p:sp>
              <p:sp>
                <p:nvSpPr>
                  <p:cNvPr id="130" name="Freeform: Shape 129">
                    <a:extLst>
                      <a:ext uri="{FF2B5EF4-FFF2-40B4-BE49-F238E27FC236}">
                        <a16:creationId xmlns:a16="http://schemas.microsoft.com/office/drawing/2014/main" id="{63E11238-2F57-0AAE-A535-1F5EF95EE78B}"/>
                      </a:ext>
                    </a:extLst>
                  </p:cNvPr>
                  <p:cNvSpPr/>
                  <p:nvPr/>
                </p:nvSpPr>
                <p:spPr>
                  <a:xfrm>
                    <a:off x="5070976" y="6159779"/>
                    <a:ext cx="12174" cy="12174"/>
                  </a:xfrm>
                  <a:custGeom>
                    <a:avLst/>
                    <a:gdLst>
                      <a:gd name="connsiteX0" fmla="*/ 12174 w 12174"/>
                      <a:gd name="connsiteY0" fmla="*/ 6087 h 12174"/>
                      <a:gd name="connsiteX1" fmla="*/ 6087 w 12174"/>
                      <a:gd name="connsiteY1" fmla="*/ 0 h 12174"/>
                      <a:gd name="connsiteX2" fmla="*/ 0 w 12174"/>
                      <a:gd name="connsiteY2" fmla="*/ 6087 h 12174"/>
                      <a:gd name="connsiteX3" fmla="*/ 6087 w 12174"/>
                      <a:gd name="connsiteY3" fmla="*/ 12174 h 12174"/>
                      <a:gd name="connsiteX4" fmla="*/ 12174 w 12174"/>
                      <a:gd name="connsiteY4" fmla="*/ 6087 h 121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174" h="12174">
                        <a:moveTo>
                          <a:pt x="12174" y="6087"/>
                        </a:moveTo>
                        <a:cubicBezTo>
                          <a:pt x="12174" y="2742"/>
                          <a:pt x="9460" y="0"/>
                          <a:pt x="6087" y="0"/>
                        </a:cubicBezTo>
                        <a:cubicBezTo>
                          <a:pt x="2715" y="0"/>
                          <a:pt x="0" y="2715"/>
                          <a:pt x="0" y="6087"/>
                        </a:cubicBezTo>
                        <a:cubicBezTo>
                          <a:pt x="0" y="9460"/>
                          <a:pt x="2715" y="12174"/>
                          <a:pt x="6087" y="12174"/>
                        </a:cubicBezTo>
                        <a:cubicBezTo>
                          <a:pt x="9460" y="12174"/>
                          <a:pt x="12174" y="9460"/>
                          <a:pt x="12174" y="6087"/>
                        </a:cubicBezTo>
                        <a:close/>
                      </a:path>
                    </a:pathLst>
                  </a:custGeom>
                  <a:solidFill>
                    <a:srgbClr val="333333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633"/>
                  </a:p>
                </p:txBody>
              </p:sp>
            </p:grpSp>
            <p:grpSp>
              <p:nvGrpSpPr>
                <p:cNvPr id="56" name="Graphic 2">
                  <a:extLst>
                    <a:ext uri="{FF2B5EF4-FFF2-40B4-BE49-F238E27FC236}">
                      <a16:creationId xmlns:a16="http://schemas.microsoft.com/office/drawing/2014/main" id="{BA403328-AFF4-1CF9-1640-7D3BF6647E50}"/>
                    </a:ext>
                  </a:extLst>
                </p:cNvPr>
                <p:cNvGrpSpPr/>
                <p:nvPr/>
              </p:nvGrpSpPr>
              <p:grpSpPr>
                <a:xfrm>
                  <a:off x="5105196" y="6151663"/>
                  <a:ext cx="28708" cy="28872"/>
                  <a:chOff x="5105196" y="6151663"/>
                  <a:chExt cx="28708" cy="28872"/>
                </a:xfrm>
              </p:grpSpPr>
              <p:sp>
                <p:nvSpPr>
                  <p:cNvPr id="61" name="Freeform: Shape 60">
                    <a:extLst>
                      <a:ext uri="{FF2B5EF4-FFF2-40B4-BE49-F238E27FC236}">
                        <a16:creationId xmlns:a16="http://schemas.microsoft.com/office/drawing/2014/main" id="{9AB82536-D6D9-0CAC-310F-BDC37D3713E7}"/>
                      </a:ext>
                    </a:extLst>
                  </p:cNvPr>
                  <p:cNvSpPr/>
                  <p:nvPr/>
                </p:nvSpPr>
                <p:spPr>
                  <a:xfrm>
                    <a:off x="5105936" y="6152568"/>
                    <a:ext cx="27968" cy="27967"/>
                  </a:xfrm>
                  <a:custGeom>
                    <a:avLst/>
                    <a:gdLst>
                      <a:gd name="connsiteX0" fmla="*/ 27968 w 27968"/>
                      <a:gd name="connsiteY0" fmla="*/ 13984 h 27967"/>
                      <a:gd name="connsiteX1" fmla="*/ 13984 w 27968"/>
                      <a:gd name="connsiteY1" fmla="*/ 0 h 27967"/>
                      <a:gd name="connsiteX2" fmla="*/ 0 w 27968"/>
                      <a:gd name="connsiteY2" fmla="*/ 13984 h 27967"/>
                      <a:gd name="connsiteX3" fmla="*/ 13984 w 27968"/>
                      <a:gd name="connsiteY3" fmla="*/ 27968 h 27967"/>
                      <a:gd name="connsiteX4" fmla="*/ 27968 w 27968"/>
                      <a:gd name="connsiteY4" fmla="*/ 13984 h 2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968" h="27967">
                        <a:moveTo>
                          <a:pt x="27968" y="13984"/>
                        </a:moveTo>
                        <a:cubicBezTo>
                          <a:pt x="27968" y="6252"/>
                          <a:pt x="21716" y="0"/>
                          <a:pt x="13984" y="0"/>
                        </a:cubicBezTo>
                        <a:cubicBezTo>
                          <a:pt x="6252" y="0"/>
                          <a:pt x="0" y="6279"/>
                          <a:pt x="0" y="13984"/>
                        </a:cubicBezTo>
                        <a:cubicBezTo>
                          <a:pt x="0" y="21689"/>
                          <a:pt x="6279" y="27968"/>
                          <a:pt x="13984" y="27968"/>
                        </a:cubicBezTo>
                        <a:cubicBezTo>
                          <a:pt x="21689" y="27968"/>
                          <a:pt x="27968" y="21689"/>
                          <a:pt x="27968" y="13984"/>
                        </a:cubicBezTo>
                        <a:close/>
                      </a:path>
                    </a:pathLst>
                  </a:custGeom>
                  <a:solidFill>
                    <a:srgbClr val="58595B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633"/>
                  </a:p>
                </p:txBody>
              </p:sp>
              <p:sp>
                <p:nvSpPr>
                  <p:cNvPr id="62" name="Freeform: Shape 61">
                    <a:extLst>
                      <a:ext uri="{FF2B5EF4-FFF2-40B4-BE49-F238E27FC236}">
                        <a16:creationId xmlns:a16="http://schemas.microsoft.com/office/drawing/2014/main" id="{3CEC9BE2-12BE-E9CE-041E-5F2B49453A38}"/>
                      </a:ext>
                    </a:extLst>
                  </p:cNvPr>
                  <p:cNvSpPr/>
                  <p:nvPr/>
                </p:nvSpPr>
                <p:spPr>
                  <a:xfrm>
                    <a:off x="5105196" y="6151663"/>
                    <a:ext cx="27967" cy="27967"/>
                  </a:xfrm>
                  <a:custGeom>
                    <a:avLst/>
                    <a:gdLst>
                      <a:gd name="connsiteX0" fmla="*/ 27968 w 27967"/>
                      <a:gd name="connsiteY0" fmla="*/ 13984 h 27967"/>
                      <a:gd name="connsiteX1" fmla="*/ 13984 w 27967"/>
                      <a:gd name="connsiteY1" fmla="*/ 27968 h 27967"/>
                      <a:gd name="connsiteX2" fmla="*/ 0 w 27967"/>
                      <a:gd name="connsiteY2" fmla="*/ 13984 h 27967"/>
                      <a:gd name="connsiteX3" fmla="*/ 13984 w 27967"/>
                      <a:gd name="connsiteY3" fmla="*/ 0 h 27967"/>
                      <a:gd name="connsiteX4" fmla="*/ 27968 w 27967"/>
                      <a:gd name="connsiteY4" fmla="*/ 13984 h 2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967" h="27967">
                        <a:moveTo>
                          <a:pt x="27968" y="13984"/>
                        </a:moveTo>
                        <a:cubicBezTo>
                          <a:pt x="27968" y="21707"/>
                          <a:pt x="21707" y="27968"/>
                          <a:pt x="13984" y="27968"/>
                        </a:cubicBezTo>
                        <a:cubicBezTo>
                          <a:pt x="6261" y="27968"/>
                          <a:pt x="0" y="21707"/>
                          <a:pt x="0" y="13984"/>
                        </a:cubicBezTo>
                        <a:cubicBezTo>
                          <a:pt x="0" y="6261"/>
                          <a:pt x="6261" y="0"/>
                          <a:pt x="13984" y="0"/>
                        </a:cubicBezTo>
                        <a:cubicBezTo>
                          <a:pt x="21707" y="0"/>
                          <a:pt x="27968" y="6261"/>
                          <a:pt x="27968" y="13984"/>
                        </a:cubicBezTo>
                        <a:close/>
                      </a:path>
                    </a:pathLst>
                  </a:custGeom>
                  <a:solidFill>
                    <a:srgbClr val="BCBEC0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633"/>
                  </a:p>
                </p:txBody>
              </p:sp>
              <p:sp>
                <p:nvSpPr>
                  <p:cNvPr id="63" name="Freeform: Shape 62">
                    <a:extLst>
                      <a:ext uri="{FF2B5EF4-FFF2-40B4-BE49-F238E27FC236}">
                        <a16:creationId xmlns:a16="http://schemas.microsoft.com/office/drawing/2014/main" id="{84390741-3312-A92A-6F80-D202F754B758}"/>
                      </a:ext>
                    </a:extLst>
                  </p:cNvPr>
                  <p:cNvSpPr/>
                  <p:nvPr/>
                </p:nvSpPr>
                <p:spPr>
                  <a:xfrm>
                    <a:off x="5107197" y="6153665"/>
                    <a:ext cx="23964" cy="23964"/>
                  </a:xfrm>
                  <a:custGeom>
                    <a:avLst/>
                    <a:gdLst>
                      <a:gd name="connsiteX0" fmla="*/ 23965 w 23964"/>
                      <a:gd name="connsiteY0" fmla="*/ 11982 h 23964"/>
                      <a:gd name="connsiteX1" fmla="*/ 11982 w 23964"/>
                      <a:gd name="connsiteY1" fmla="*/ 23965 h 23964"/>
                      <a:gd name="connsiteX2" fmla="*/ 0 w 23964"/>
                      <a:gd name="connsiteY2" fmla="*/ 11982 h 23964"/>
                      <a:gd name="connsiteX3" fmla="*/ 11982 w 23964"/>
                      <a:gd name="connsiteY3" fmla="*/ 0 h 23964"/>
                      <a:gd name="connsiteX4" fmla="*/ 23965 w 23964"/>
                      <a:gd name="connsiteY4" fmla="*/ 11982 h 239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964" h="23964">
                        <a:moveTo>
                          <a:pt x="23965" y="11982"/>
                        </a:moveTo>
                        <a:cubicBezTo>
                          <a:pt x="23965" y="18600"/>
                          <a:pt x="18600" y="23965"/>
                          <a:pt x="11982" y="23965"/>
                        </a:cubicBezTo>
                        <a:cubicBezTo>
                          <a:pt x="5365" y="23965"/>
                          <a:pt x="0" y="18600"/>
                          <a:pt x="0" y="11982"/>
                        </a:cubicBezTo>
                        <a:cubicBezTo>
                          <a:pt x="0" y="5365"/>
                          <a:pt x="5365" y="0"/>
                          <a:pt x="11982" y="0"/>
                        </a:cubicBezTo>
                        <a:cubicBezTo>
                          <a:pt x="18600" y="0"/>
                          <a:pt x="23965" y="5365"/>
                          <a:pt x="23965" y="11982"/>
                        </a:cubicBezTo>
                        <a:close/>
                      </a:path>
                    </a:pathLst>
                  </a:custGeom>
                  <a:solidFill>
                    <a:srgbClr val="4D4D4D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633"/>
                  </a:p>
                </p:txBody>
              </p:sp>
            </p:grpSp>
            <p:grpSp>
              <p:nvGrpSpPr>
                <p:cNvPr id="57" name="Graphic 2">
                  <a:extLst>
                    <a:ext uri="{FF2B5EF4-FFF2-40B4-BE49-F238E27FC236}">
                      <a16:creationId xmlns:a16="http://schemas.microsoft.com/office/drawing/2014/main" id="{B711F3D9-1C0C-7EAF-C077-42C0A98DCD3D}"/>
                    </a:ext>
                  </a:extLst>
                </p:cNvPr>
                <p:cNvGrpSpPr/>
                <p:nvPr/>
              </p:nvGrpSpPr>
              <p:grpSpPr>
                <a:xfrm>
                  <a:off x="5147504" y="6151663"/>
                  <a:ext cx="28680" cy="28872"/>
                  <a:chOff x="5147504" y="6151663"/>
                  <a:chExt cx="28680" cy="28872"/>
                </a:xfrm>
              </p:grpSpPr>
              <p:sp>
                <p:nvSpPr>
                  <p:cNvPr id="58" name="Freeform: Shape 57">
                    <a:extLst>
                      <a:ext uri="{FF2B5EF4-FFF2-40B4-BE49-F238E27FC236}">
                        <a16:creationId xmlns:a16="http://schemas.microsoft.com/office/drawing/2014/main" id="{9C1D79F6-D662-B0B5-1B4E-87341373D761}"/>
                      </a:ext>
                    </a:extLst>
                  </p:cNvPr>
                  <p:cNvSpPr/>
                  <p:nvPr/>
                </p:nvSpPr>
                <p:spPr>
                  <a:xfrm>
                    <a:off x="5148217" y="6152568"/>
                    <a:ext cx="27967" cy="27967"/>
                  </a:xfrm>
                  <a:custGeom>
                    <a:avLst/>
                    <a:gdLst>
                      <a:gd name="connsiteX0" fmla="*/ 27968 w 27967"/>
                      <a:gd name="connsiteY0" fmla="*/ 13984 h 27967"/>
                      <a:gd name="connsiteX1" fmla="*/ 13984 w 27967"/>
                      <a:gd name="connsiteY1" fmla="*/ 0 h 27967"/>
                      <a:gd name="connsiteX2" fmla="*/ 0 w 27967"/>
                      <a:gd name="connsiteY2" fmla="*/ 13984 h 27967"/>
                      <a:gd name="connsiteX3" fmla="*/ 13984 w 27967"/>
                      <a:gd name="connsiteY3" fmla="*/ 27968 h 27967"/>
                      <a:gd name="connsiteX4" fmla="*/ 27968 w 27967"/>
                      <a:gd name="connsiteY4" fmla="*/ 13984 h 2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967" h="27967">
                        <a:moveTo>
                          <a:pt x="27968" y="13984"/>
                        </a:moveTo>
                        <a:cubicBezTo>
                          <a:pt x="27968" y="6252"/>
                          <a:pt x="21689" y="0"/>
                          <a:pt x="13984" y="0"/>
                        </a:cubicBezTo>
                        <a:cubicBezTo>
                          <a:pt x="6279" y="0"/>
                          <a:pt x="0" y="6279"/>
                          <a:pt x="0" y="13984"/>
                        </a:cubicBezTo>
                        <a:cubicBezTo>
                          <a:pt x="0" y="21689"/>
                          <a:pt x="6279" y="27968"/>
                          <a:pt x="13984" y="27968"/>
                        </a:cubicBezTo>
                        <a:cubicBezTo>
                          <a:pt x="21689" y="27968"/>
                          <a:pt x="27968" y="21689"/>
                          <a:pt x="27968" y="13984"/>
                        </a:cubicBezTo>
                        <a:close/>
                      </a:path>
                    </a:pathLst>
                  </a:custGeom>
                  <a:solidFill>
                    <a:srgbClr val="58595B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633"/>
                  </a:p>
                </p:txBody>
              </p:sp>
              <p:sp>
                <p:nvSpPr>
                  <p:cNvPr id="59" name="Freeform: Shape 58">
                    <a:extLst>
                      <a:ext uri="{FF2B5EF4-FFF2-40B4-BE49-F238E27FC236}">
                        <a16:creationId xmlns:a16="http://schemas.microsoft.com/office/drawing/2014/main" id="{62C43268-A14F-1706-33AB-9D06489D9A0E}"/>
                      </a:ext>
                    </a:extLst>
                  </p:cNvPr>
                  <p:cNvSpPr/>
                  <p:nvPr/>
                </p:nvSpPr>
                <p:spPr>
                  <a:xfrm>
                    <a:off x="5147504" y="6151663"/>
                    <a:ext cx="27967" cy="27967"/>
                  </a:xfrm>
                  <a:custGeom>
                    <a:avLst/>
                    <a:gdLst>
                      <a:gd name="connsiteX0" fmla="*/ 27968 w 27967"/>
                      <a:gd name="connsiteY0" fmla="*/ 13984 h 27967"/>
                      <a:gd name="connsiteX1" fmla="*/ 13984 w 27967"/>
                      <a:gd name="connsiteY1" fmla="*/ 27968 h 27967"/>
                      <a:gd name="connsiteX2" fmla="*/ 0 w 27967"/>
                      <a:gd name="connsiteY2" fmla="*/ 13984 h 27967"/>
                      <a:gd name="connsiteX3" fmla="*/ 13984 w 27967"/>
                      <a:gd name="connsiteY3" fmla="*/ 0 h 27967"/>
                      <a:gd name="connsiteX4" fmla="*/ 27968 w 27967"/>
                      <a:gd name="connsiteY4" fmla="*/ 13984 h 2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967" h="27967">
                        <a:moveTo>
                          <a:pt x="27968" y="13984"/>
                        </a:moveTo>
                        <a:cubicBezTo>
                          <a:pt x="27968" y="21707"/>
                          <a:pt x="21707" y="27968"/>
                          <a:pt x="13984" y="27968"/>
                        </a:cubicBezTo>
                        <a:cubicBezTo>
                          <a:pt x="6261" y="27968"/>
                          <a:pt x="0" y="21707"/>
                          <a:pt x="0" y="13984"/>
                        </a:cubicBezTo>
                        <a:cubicBezTo>
                          <a:pt x="0" y="6261"/>
                          <a:pt x="6261" y="0"/>
                          <a:pt x="13984" y="0"/>
                        </a:cubicBezTo>
                        <a:cubicBezTo>
                          <a:pt x="21707" y="0"/>
                          <a:pt x="27968" y="6261"/>
                          <a:pt x="27968" y="13984"/>
                        </a:cubicBezTo>
                        <a:close/>
                      </a:path>
                    </a:pathLst>
                  </a:custGeom>
                  <a:solidFill>
                    <a:srgbClr val="BCBEC0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633"/>
                  </a:p>
                </p:txBody>
              </p:sp>
              <p:sp>
                <p:nvSpPr>
                  <p:cNvPr id="60" name="Freeform: Shape 59">
                    <a:extLst>
                      <a:ext uri="{FF2B5EF4-FFF2-40B4-BE49-F238E27FC236}">
                        <a16:creationId xmlns:a16="http://schemas.microsoft.com/office/drawing/2014/main" id="{4D0C1C70-1D9C-9F63-6489-CEAEE63FD3C4}"/>
                      </a:ext>
                    </a:extLst>
                  </p:cNvPr>
                  <p:cNvSpPr/>
                  <p:nvPr/>
                </p:nvSpPr>
                <p:spPr>
                  <a:xfrm>
                    <a:off x="5149506" y="6153665"/>
                    <a:ext cx="23964" cy="23964"/>
                  </a:xfrm>
                  <a:custGeom>
                    <a:avLst/>
                    <a:gdLst>
                      <a:gd name="connsiteX0" fmla="*/ 23965 w 23964"/>
                      <a:gd name="connsiteY0" fmla="*/ 11982 h 23964"/>
                      <a:gd name="connsiteX1" fmla="*/ 11982 w 23964"/>
                      <a:gd name="connsiteY1" fmla="*/ 23965 h 23964"/>
                      <a:gd name="connsiteX2" fmla="*/ 0 w 23964"/>
                      <a:gd name="connsiteY2" fmla="*/ 11982 h 23964"/>
                      <a:gd name="connsiteX3" fmla="*/ 11982 w 23964"/>
                      <a:gd name="connsiteY3" fmla="*/ 0 h 23964"/>
                      <a:gd name="connsiteX4" fmla="*/ 23965 w 23964"/>
                      <a:gd name="connsiteY4" fmla="*/ 11982 h 239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964" h="23964">
                        <a:moveTo>
                          <a:pt x="23965" y="11982"/>
                        </a:moveTo>
                        <a:cubicBezTo>
                          <a:pt x="23965" y="18600"/>
                          <a:pt x="18600" y="23965"/>
                          <a:pt x="11982" y="23965"/>
                        </a:cubicBezTo>
                        <a:cubicBezTo>
                          <a:pt x="5365" y="23965"/>
                          <a:pt x="0" y="18600"/>
                          <a:pt x="0" y="11982"/>
                        </a:cubicBezTo>
                        <a:cubicBezTo>
                          <a:pt x="0" y="5365"/>
                          <a:pt x="5365" y="0"/>
                          <a:pt x="11982" y="0"/>
                        </a:cubicBezTo>
                        <a:cubicBezTo>
                          <a:pt x="18600" y="0"/>
                          <a:pt x="23965" y="5365"/>
                          <a:pt x="23965" y="11982"/>
                        </a:cubicBezTo>
                        <a:close/>
                      </a:path>
                    </a:pathLst>
                  </a:custGeom>
                  <a:solidFill>
                    <a:srgbClr val="4D4D4D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633"/>
                  </a:p>
                </p:txBody>
              </p:sp>
            </p:grpSp>
          </p:grpSp>
          <p:grpSp>
            <p:nvGrpSpPr>
              <p:cNvPr id="52" name="Graphic 2">
                <a:extLst>
                  <a:ext uri="{FF2B5EF4-FFF2-40B4-BE49-F238E27FC236}">
                    <a16:creationId xmlns:a16="http://schemas.microsoft.com/office/drawing/2014/main" id="{9B51333F-FC5C-E23A-5626-AE775CD7C25B}"/>
                  </a:ext>
                </a:extLst>
              </p:cNvPr>
              <p:cNvGrpSpPr/>
              <p:nvPr/>
            </p:nvGrpSpPr>
            <p:grpSpPr>
              <a:xfrm>
                <a:off x="3103267" y="6140915"/>
                <a:ext cx="532268" cy="27748"/>
                <a:chOff x="3103267" y="6140915"/>
                <a:chExt cx="532268" cy="27748"/>
              </a:xfrm>
            </p:grpSpPr>
            <p:sp>
              <p:nvSpPr>
                <p:cNvPr id="53" name="Freeform: Shape 52">
                  <a:extLst>
                    <a:ext uri="{FF2B5EF4-FFF2-40B4-BE49-F238E27FC236}">
                      <a16:creationId xmlns:a16="http://schemas.microsoft.com/office/drawing/2014/main" id="{B1D8B3FB-FAC2-B841-5871-A40190338203}"/>
                    </a:ext>
                  </a:extLst>
                </p:cNvPr>
                <p:cNvSpPr/>
                <p:nvPr/>
              </p:nvSpPr>
              <p:spPr>
                <a:xfrm>
                  <a:off x="3103267" y="6140915"/>
                  <a:ext cx="532240" cy="27748"/>
                </a:xfrm>
                <a:custGeom>
                  <a:avLst/>
                  <a:gdLst>
                    <a:gd name="connsiteX0" fmla="*/ 266381 w 532240"/>
                    <a:gd name="connsiteY0" fmla="*/ 0 h 27748"/>
                    <a:gd name="connsiteX1" fmla="*/ 0 w 532240"/>
                    <a:gd name="connsiteY1" fmla="*/ 0 h 27748"/>
                    <a:gd name="connsiteX2" fmla="*/ 63010 w 532240"/>
                    <a:gd name="connsiteY2" fmla="*/ 27749 h 27748"/>
                    <a:gd name="connsiteX3" fmla="*/ 469231 w 532240"/>
                    <a:gd name="connsiteY3" fmla="*/ 27749 h 27748"/>
                    <a:gd name="connsiteX4" fmla="*/ 532241 w 532240"/>
                    <a:gd name="connsiteY4" fmla="*/ 0 h 27748"/>
                    <a:gd name="connsiteX5" fmla="*/ 266381 w 532240"/>
                    <a:gd name="connsiteY5" fmla="*/ 0 h 27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32240" h="27748">
                      <a:moveTo>
                        <a:pt x="266381" y="0"/>
                      </a:moveTo>
                      <a:lnTo>
                        <a:pt x="0" y="0"/>
                      </a:lnTo>
                      <a:cubicBezTo>
                        <a:pt x="0" y="0"/>
                        <a:pt x="5868" y="27749"/>
                        <a:pt x="63010" y="27749"/>
                      </a:cubicBezTo>
                      <a:lnTo>
                        <a:pt x="469231" y="27749"/>
                      </a:lnTo>
                      <a:cubicBezTo>
                        <a:pt x="526373" y="27749"/>
                        <a:pt x="532241" y="0"/>
                        <a:pt x="532241" y="0"/>
                      </a:cubicBezTo>
                      <a:lnTo>
                        <a:pt x="266381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7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633"/>
                </a:p>
              </p:txBody>
            </p:sp>
            <p:sp>
              <p:nvSpPr>
                <p:cNvPr id="54" name="Freeform: Shape 53">
                  <a:extLst>
                    <a:ext uri="{FF2B5EF4-FFF2-40B4-BE49-F238E27FC236}">
                      <a16:creationId xmlns:a16="http://schemas.microsoft.com/office/drawing/2014/main" id="{F92D3D9C-4FA0-499F-4060-6EA61EDF66BE}"/>
                    </a:ext>
                  </a:extLst>
                </p:cNvPr>
                <p:cNvSpPr/>
                <p:nvPr/>
              </p:nvSpPr>
              <p:spPr>
                <a:xfrm>
                  <a:off x="3123338" y="6140915"/>
                  <a:ext cx="512197" cy="27748"/>
                </a:xfrm>
                <a:custGeom>
                  <a:avLst/>
                  <a:gdLst>
                    <a:gd name="connsiteX0" fmla="*/ 502299 w 512197"/>
                    <a:gd name="connsiteY0" fmla="*/ 0 h 27748"/>
                    <a:gd name="connsiteX1" fmla="*/ 440056 w 512197"/>
                    <a:gd name="connsiteY1" fmla="*/ 24349 h 27748"/>
                    <a:gd name="connsiteX2" fmla="*/ 36166 w 512197"/>
                    <a:gd name="connsiteY2" fmla="*/ 24349 h 27748"/>
                    <a:gd name="connsiteX3" fmla="*/ 0 w 512197"/>
                    <a:gd name="connsiteY3" fmla="*/ 19989 h 27748"/>
                    <a:gd name="connsiteX4" fmla="*/ 45187 w 512197"/>
                    <a:gd name="connsiteY4" fmla="*/ 27749 h 27748"/>
                    <a:gd name="connsiteX5" fmla="*/ 449077 w 512197"/>
                    <a:gd name="connsiteY5" fmla="*/ 27749 h 27748"/>
                    <a:gd name="connsiteX6" fmla="*/ 512197 w 512197"/>
                    <a:gd name="connsiteY6" fmla="*/ 0 h 27748"/>
                    <a:gd name="connsiteX7" fmla="*/ 502326 w 512197"/>
                    <a:gd name="connsiteY7" fmla="*/ 0 h 27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12197" h="27748">
                      <a:moveTo>
                        <a:pt x="502299" y="0"/>
                      </a:moveTo>
                      <a:cubicBezTo>
                        <a:pt x="499392" y="9295"/>
                        <a:pt x="483544" y="24349"/>
                        <a:pt x="440056" y="24349"/>
                      </a:cubicBezTo>
                      <a:lnTo>
                        <a:pt x="36166" y="24349"/>
                      </a:lnTo>
                      <a:cubicBezTo>
                        <a:pt x="20565" y="24349"/>
                        <a:pt x="8829" y="22649"/>
                        <a:pt x="0" y="19989"/>
                      </a:cubicBezTo>
                      <a:cubicBezTo>
                        <a:pt x="9350" y="24349"/>
                        <a:pt x="23553" y="27749"/>
                        <a:pt x="45187" y="27749"/>
                      </a:cubicBezTo>
                      <a:lnTo>
                        <a:pt x="449077" y="27749"/>
                      </a:lnTo>
                      <a:cubicBezTo>
                        <a:pt x="505891" y="27749"/>
                        <a:pt x="512197" y="0"/>
                        <a:pt x="512197" y="0"/>
                      </a:cubicBezTo>
                      <a:lnTo>
                        <a:pt x="502326" y="0"/>
                      </a:lnTo>
                      <a:close/>
                    </a:path>
                  </a:pathLst>
                </a:custGeom>
                <a:solidFill>
                  <a:srgbClr val="D1D3D4"/>
                </a:solidFill>
                <a:ln w="27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633"/>
                </a:p>
              </p:txBody>
            </p:sp>
          </p:grpSp>
        </p:grpSp>
      </p:grpSp>
      <p:pic>
        <p:nvPicPr>
          <p:cNvPr id="163" name="Picture 162">
            <a:extLst>
              <a:ext uri="{FF2B5EF4-FFF2-40B4-BE49-F238E27FC236}">
                <a16:creationId xmlns:a16="http://schemas.microsoft.com/office/drawing/2014/main" id="{AD25483B-9E35-EE82-1B58-3FD57D9795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12134" y="1836258"/>
            <a:ext cx="2873282" cy="1738178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4049970-A4FC-E703-56F8-F87E8EC94E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664"/>
            <a:ext cx="11089972" cy="443176"/>
          </a:xfrm>
        </p:spPr>
        <p:txBody>
          <a:bodyPr vert="horz"/>
          <a:lstStyle/>
          <a:p>
            <a:r>
              <a:rPr lang="en-US" dirty="0"/>
              <a:t>Web Scraping Tool for Second-Hand Car Sales</a:t>
            </a:r>
          </a:p>
        </p:txBody>
      </p:sp>
      <p:sp>
        <p:nvSpPr>
          <p:cNvPr id="15" name="Google Shape;831;p25">
            <a:extLst>
              <a:ext uri="{FF2B5EF4-FFF2-40B4-BE49-F238E27FC236}">
                <a16:creationId xmlns:a16="http://schemas.microsoft.com/office/drawing/2014/main" id="{BE9AC918-EE64-3C38-B970-B1FD8371B223}"/>
              </a:ext>
            </a:extLst>
          </p:cNvPr>
          <p:cNvSpPr>
            <a:spLocks/>
          </p:cNvSpPr>
          <p:nvPr/>
        </p:nvSpPr>
        <p:spPr>
          <a:xfrm>
            <a:off x="519343" y="1648504"/>
            <a:ext cx="5274441" cy="5009089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30631" tIns="163288" rIns="130631" bIns="163288" anchor="t" anchorCtr="0">
            <a:noAutofit/>
          </a:bodyPr>
          <a:lstStyle/>
          <a:p>
            <a:pPr algn="ctr">
              <a:lnSpc>
                <a:spcPct val="130769"/>
              </a:lnSpc>
              <a:buClr>
                <a:schemeClr val="accent1"/>
              </a:buClr>
              <a:buSzPts val="1300"/>
            </a:pPr>
            <a:endParaRPr lang="en-US" sz="1633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62784F6-932D-341C-D037-8170B94B3351}"/>
              </a:ext>
            </a:extLst>
          </p:cNvPr>
          <p:cNvSpPr txBox="1"/>
          <p:nvPr/>
        </p:nvSpPr>
        <p:spPr>
          <a:xfrm>
            <a:off x="688446" y="2159806"/>
            <a:ext cx="4945865" cy="440347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57613" indent="-157613">
              <a:lnSpc>
                <a:spcPts val="1742"/>
              </a:lnSpc>
            </a:pPr>
            <a:r>
              <a:rPr lang="en-US" sz="1600" b="1" dirty="0">
                <a:solidFill>
                  <a:schemeClr val="accent1"/>
                </a:solidFill>
                <a:ea typeface="Calibri"/>
                <a:cs typeface="Calibri"/>
                <a:sym typeface="Calibri"/>
              </a:rPr>
              <a:t>Establishing Data Collection Requirements</a:t>
            </a:r>
            <a:endParaRPr lang="en-US" sz="1600" dirty="0"/>
          </a:p>
          <a:p>
            <a:pPr marL="154100" indent="-154100">
              <a:lnSpc>
                <a:spcPts val="1742"/>
              </a:lnSpc>
              <a:spcBef>
                <a:spcPts val="544"/>
              </a:spcBef>
              <a:buClr>
                <a:schemeClr val="accent1"/>
              </a:buClr>
              <a:buSzPts val="1400"/>
              <a:buFont typeface="Wingdings" panose="05000000000000000000" pitchFamily="2" charset="2"/>
              <a:buChar char="§"/>
            </a:pPr>
            <a:r>
              <a:rPr lang="en-US" sz="1600" dirty="0">
                <a:latin typeface="Calibri"/>
                <a:ea typeface="Calibri"/>
                <a:cs typeface="Calibri"/>
              </a:rPr>
              <a:t>Identification and selection of </a:t>
            </a:r>
            <a:r>
              <a:rPr lang="en-US" sz="1600" b="1" dirty="0">
                <a:latin typeface="Calibri"/>
                <a:ea typeface="Calibri"/>
                <a:cs typeface="Calibri"/>
              </a:rPr>
              <a:t>+15 core data elements crucial for analysis</a:t>
            </a:r>
            <a:r>
              <a:rPr lang="en-US" sz="1600" dirty="0">
                <a:latin typeface="Calibri"/>
                <a:ea typeface="Calibri"/>
                <a:cs typeface="Calibri"/>
              </a:rPr>
              <a:t>, enabling the client to perform comprehensive insights generation.</a:t>
            </a:r>
          </a:p>
          <a:p>
            <a:pPr marL="157613" indent="-157613">
              <a:lnSpc>
                <a:spcPts val="1742"/>
              </a:lnSpc>
              <a:spcBef>
                <a:spcPts val="544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accent1"/>
                </a:solidFill>
                <a:ea typeface="Calibri"/>
                <a:cs typeface="Calibri"/>
                <a:sym typeface="Calibri"/>
              </a:rPr>
              <a:t>Developing a Data Collection Plan and Storage</a:t>
            </a:r>
          </a:p>
          <a:p>
            <a:pPr marL="154100" indent="-154100">
              <a:lnSpc>
                <a:spcPts val="1742"/>
              </a:lnSpc>
              <a:spcBef>
                <a:spcPts val="544"/>
              </a:spcBef>
              <a:buClr>
                <a:schemeClr val="accent1"/>
              </a:buClr>
              <a:buSzPts val="1400"/>
              <a:buFont typeface="Wingdings" panose="05000000000000000000" pitchFamily="2" charset="2"/>
              <a:buChar char="§"/>
            </a:pP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Implementation of a </a:t>
            </a: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daily automated process</a:t>
            </a: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 to pull car listings from across the country, creating an up-to-date database for analysis purposes.</a:t>
            </a:r>
          </a:p>
          <a:p>
            <a:pPr marL="157613" indent="-157613">
              <a:lnSpc>
                <a:spcPts val="1742"/>
              </a:lnSpc>
              <a:spcBef>
                <a:spcPts val="544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Designing a graphical user interface (GUI)</a:t>
            </a:r>
          </a:p>
          <a:p>
            <a:pPr marL="154100" indent="-154100">
              <a:lnSpc>
                <a:spcPts val="1742"/>
              </a:lnSpc>
              <a:spcBef>
                <a:spcPts val="544"/>
              </a:spcBef>
              <a:buClr>
                <a:schemeClr val="accent1"/>
              </a:buClr>
              <a:buSzPts val="1400"/>
              <a:buFont typeface="Wingdings" panose="05000000000000000000" pitchFamily="2" charset="2"/>
              <a:buChar char="§"/>
            </a:pPr>
            <a:r>
              <a:rPr lang="en-US" sz="1600" dirty="0">
                <a:latin typeface="Calibri"/>
                <a:ea typeface="Calibri"/>
                <a:cs typeface="Calibri"/>
              </a:rPr>
              <a:t>Development of </a:t>
            </a:r>
            <a:r>
              <a:rPr lang="en-US" sz="1600" b="1" dirty="0">
                <a:latin typeface="Calibri"/>
                <a:ea typeface="Calibri"/>
                <a:cs typeface="Calibri"/>
              </a:rPr>
              <a:t>a user-friendly GUI </a:t>
            </a:r>
            <a:r>
              <a:rPr lang="en-US" sz="1600" dirty="0">
                <a:latin typeface="Calibri"/>
                <a:ea typeface="Calibri"/>
                <a:cs typeface="Calibri"/>
              </a:rPr>
              <a:t>that allows the client to effortlessly select specific car brands/models and collect data on demand.</a:t>
            </a:r>
          </a:p>
          <a:p>
            <a:pPr marL="157613" indent="-157613">
              <a:lnSpc>
                <a:spcPts val="1742"/>
              </a:lnSpc>
              <a:spcBef>
                <a:spcPts val="544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Cleaning and preprocessing the data</a:t>
            </a:r>
            <a:endParaRPr lang="en-US" sz="1600" b="1" dirty="0">
              <a:solidFill>
                <a:schemeClr val="accent1"/>
              </a:solidFill>
              <a:latin typeface="Calibri"/>
              <a:ea typeface="Calibri"/>
              <a:cs typeface="Calibri"/>
            </a:endParaRPr>
          </a:p>
          <a:p>
            <a:pPr marL="154100" indent="-154100">
              <a:lnSpc>
                <a:spcPts val="1742"/>
              </a:lnSpc>
              <a:spcBef>
                <a:spcPts val="544"/>
              </a:spcBef>
              <a:buClr>
                <a:schemeClr val="accent1"/>
              </a:buClr>
              <a:buSzPts val="1400"/>
              <a:buFont typeface="Wingdings" panose="05000000000000000000" pitchFamily="2" charset="2"/>
              <a:buChar char="§"/>
            </a:pP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Built of </a:t>
            </a:r>
            <a:r>
              <a:rPr lang="en-US" sz="1600" b="1" dirty="0">
                <a:latin typeface="Calibri"/>
                <a:ea typeface="Calibri"/>
                <a:cs typeface="Calibri"/>
                <a:sym typeface="Calibri"/>
              </a:rPr>
              <a:t>robust cleaning and preprocessing techniques </a:t>
            </a: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to enhance data quality and usability, including removing duplicates, correcting inconsistencies, and standardizing data formats.</a:t>
            </a:r>
          </a:p>
          <a:p>
            <a:pPr marL="157613" indent="-157613">
              <a:lnSpc>
                <a:spcPts val="1742"/>
              </a:lnSpc>
            </a:pPr>
            <a:endParaRPr lang="en-US" sz="1633" dirty="0"/>
          </a:p>
        </p:txBody>
      </p: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B7DC795B-D0F1-1AA2-2393-D9E74965906E}"/>
              </a:ext>
            </a:extLst>
          </p:cNvPr>
          <p:cNvGrpSpPr/>
          <p:nvPr/>
        </p:nvGrpSpPr>
        <p:grpSpPr>
          <a:xfrm>
            <a:off x="7964344" y="3304651"/>
            <a:ext cx="3966657" cy="3041065"/>
            <a:chOff x="4662343" y="2693866"/>
            <a:chExt cx="4610513" cy="3534681"/>
          </a:xfrm>
        </p:grpSpPr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94EEFE0D-C9A1-2441-93CB-02C05551B254}"/>
                </a:ext>
              </a:extLst>
            </p:cNvPr>
            <p:cNvSpPr/>
            <p:nvPr/>
          </p:nvSpPr>
          <p:spPr>
            <a:xfrm>
              <a:off x="4662343" y="2693866"/>
              <a:ext cx="4610513" cy="2788869"/>
            </a:xfrm>
            <a:custGeom>
              <a:avLst/>
              <a:gdLst>
                <a:gd name="connsiteX0" fmla="*/ 129502 w 4610513"/>
                <a:gd name="connsiteY0" fmla="*/ 0 h 2788869"/>
                <a:gd name="connsiteX1" fmla="*/ 4481011 w 4610513"/>
                <a:gd name="connsiteY1" fmla="*/ 0 h 2788869"/>
                <a:gd name="connsiteX2" fmla="*/ 4610514 w 4610513"/>
                <a:gd name="connsiteY2" fmla="*/ 129502 h 2788869"/>
                <a:gd name="connsiteX3" fmla="*/ 4610514 w 4610513"/>
                <a:gd name="connsiteY3" fmla="*/ 2659367 h 2788869"/>
                <a:gd name="connsiteX4" fmla="*/ 4481011 w 4610513"/>
                <a:gd name="connsiteY4" fmla="*/ 2788870 h 2788869"/>
                <a:gd name="connsiteX5" fmla="*/ 129502 w 4610513"/>
                <a:gd name="connsiteY5" fmla="*/ 2788870 h 2788869"/>
                <a:gd name="connsiteX6" fmla="*/ 0 w 4610513"/>
                <a:gd name="connsiteY6" fmla="*/ 2659367 h 2788869"/>
                <a:gd name="connsiteX7" fmla="*/ 0 w 4610513"/>
                <a:gd name="connsiteY7" fmla="*/ 129502 h 2788869"/>
                <a:gd name="connsiteX8" fmla="*/ 129502 w 4610513"/>
                <a:gd name="connsiteY8" fmla="*/ 0 h 278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10513" h="2788869">
                  <a:moveTo>
                    <a:pt x="129502" y="0"/>
                  </a:moveTo>
                  <a:lnTo>
                    <a:pt x="4481011" y="0"/>
                  </a:lnTo>
                  <a:cubicBezTo>
                    <a:pt x="4552494" y="0"/>
                    <a:pt x="4610514" y="58020"/>
                    <a:pt x="4610514" y="129502"/>
                  </a:cubicBezTo>
                  <a:lnTo>
                    <a:pt x="4610514" y="2659367"/>
                  </a:lnTo>
                  <a:cubicBezTo>
                    <a:pt x="4610514" y="2730850"/>
                    <a:pt x="4552467" y="2788870"/>
                    <a:pt x="4481011" y="2788870"/>
                  </a:cubicBezTo>
                  <a:lnTo>
                    <a:pt x="129502" y="2788870"/>
                  </a:lnTo>
                  <a:cubicBezTo>
                    <a:pt x="58020" y="2788870"/>
                    <a:pt x="0" y="2730850"/>
                    <a:pt x="0" y="2659367"/>
                  </a:cubicBezTo>
                  <a:lnTo>
                    <a:pt x="0" y="129502"/>
                  </a:lnTo>
                  <a:cubicBezTo>
                    <a:pt x="0" y="58020"/>
                    <a:pt x="58020" y="0"/>
                    <a:pt x="129502" y="0"/>
                  </a:cubicBezTo>
                  <a:close/>
                </a:path>
              </a:pathLst>
            </a:custGeom>
            <a:solidFill>
              <a:srgbClr val="000000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633"/>
            </a:p>
          </p:txBody>
        </p:sp>
        <p:grpSp>
          <p:nvGrpSpPr>
            <p:cNvPr id="143" name="Graphic 2">
              <a:extLst>
                <a:ext uri="{FF2B5EF4-FFF2-40B4-BE49-F238E27FC236}">
                  <a16:creationId xmlns:a16="http://schemas.microsoft.com/office/drawing/2014/main" id="{57B97A73-B410-9EB5-B988-01688F68DEAC}"/>
                </a:ext>
              </a:extLst>
            </p:cNvPr>
            <p:cNvGrpSpPr/>
            <p:nvPr/>
          </p:nvGrpSpPr>
          <p:grpSpPr>
            <a:xfrm>
              <a:off x="6249770" y="5482791"/>
              <a:ext cx="1435672" cy="745756"/>
              <a:chOff x="6249770" y="5482791"/>
              <a:chExt cx="1435672" cy="745756"/>
            </a:xfrm>
          </p:grpSpPr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44786122-2120-6E6A-72BE-D6D0E97D5508}"/>
                  </a:ext>
                </a:extLst>
              </p:cNvPr>
              <p:cNvSpPr/>
              <p:nvPr/>
            </p:nvSpPr>
            <p:spPr>
              <a:xfrm>
                <a:off x="6249770" y="5482791"/>
                <a:ext cx="1435604" cy="744495"/>
              </a:xfrm>
              <a:custGeom>
                <a:avLst/>
                <a:gdLst>
                  <a:gd name="connsiteX0" fmla="*/ 1435605 w 1435604"/>
                  <a:gd name="connsiteY0" fmla="*/ 703449 h 744495"/>
                  <a:gd name="connsiteX1" fmla="*/ 1345422 w 1435604"/>
                  <a:gd name="connsiteY1" fmla="*/ 643619 h 744495"/>
                  <a:gd name="connsiteX2" fmla="*/ 1221897 w 1435604"/>
                  <a:gd name="connsiteY2" fmla="*/ 529828 h 744495"/>
                  <a:gd name="connsiteX3" fmla="*/ 1144464 w 1435604"/>
                  <a:gd name="connsiteY3" fmla="*/ 0 h 744495"/>
                  <a:gd name="connsiteX4" fmla="*/ 291141 w 1435604"/>
                  <a:gd name="connsiteY4" fmla="*/ 0 h 744495"/>
                  <a:gd name="connsiteX5" fmla="*/ 213681 w 1435604"/>
                  <a:gd name="connsiteY5" fmla="*/ 529828 h 744495"/>
                  <a:gd name="connsiteX6" fmla="*/ 90183 w 1435604"/>
                  <a:gd name="connsiteY6" fmla="*/ 643619 h 744495"/>
                  <a:gd name="connsiteX7" fmla="*/ 0 w 1435604"/>
                  <a:gd name="connsiteY7" fmla="*/ 703449 h 744495"/>
                  <a:gd name="connsiteX8" fmla="*/ 0 w 1435604"/>
                  <a:gd name="connsiteY8" fmla="*/ 724781 h 744495"/>
                  <a:gd name="connsiteX9" fmla="*/ 224703 w 1435604"/>
                  <a:gd name="connsiteY9" fmla="*/ 744496 h 744495"/>
                  <a:gd name="connsiteX10" fmla="*/ 1210874 w 1435604"/>
                  <a:gd name="connsiteY10" fmla="*/ 744496 h 744495"/>
                  <a:gd name="connsiteX11" fmla="*/ 1435605 w 1435604"/>
                  <a:gd name="connsiteY11" fmla="*/ 724781 h 744495"/>
                  <a:gd name="connsiteX12" fmla="*/ 1435605 w 1435604"/>
                  <a:gd name="connsiteY12" fmla="*/ 703449 h 744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5604" h="744495">
                    <a:moveTo>
                      <a:pt x="1435605" y="703449"/>
                    </a:moveTo>
                    <a:cubicBezTo>
                      <a:pt x="1435605" y="703449"/>
                      <a:pt x="1425432" y="663526"/>
                      <a:pt x="1345422" y="643619"/>
                    </a:cubicBezTo>
                    <a:cubicBezTo>
                      <a:pt x="1265440" y="623712"/>
                      <a:pt x="1238376" y="600927"/>
                      <a:pt x="1221897" y="529828"/>
                    </a:cubicBezTo>
                    <a:cubicBezTo>
                      <a:pt x="1205445" y="458702"/>
                      <a:pt x="1144464" y="0"/>
                      <a:pt x="1144464" y="0"/>
                    </a:cubicBezTo>
                    <a:lnTo>
                      <a:pt x="291141" y="0"/>
                    </a:lnTo>
                    <a:cubicBezTo>
                      <a:pt x="291141" y="0"/>
                      <a:pt x="230160" y="458702"/>
                      <a:pt x="213681" y="529828"/>
                    </a:cubicBezTo>
                    <a:cubicBezTo>
                      <a:pt x="197229" y="600954"/>
                      <a:pt x="170166" y="623712"/>
                      <a:pt x="90183" y="643619"/>
                    </a:cubicBezTo>
                    <a:cubicBezTo>
                      <a:pt x="10200" y="663526"/>
                      <a:pt x="0" y="703449"/>
                      <a:pt x="0" y="703449"/>
                    </a:cubicBezTo>
                    <a:lnTo>
                      <a:pt x="0" y="724781"/>
                    </a:lnTo>
                    <a:cubicBezTo>
                      <a:pt x="0" y="724781"/>
                      <a:pt x="26542" y="744496"/>
                      <a:pt x="224703" y="744496"/>
                    </a:cubicBezTo>
                    <a:lnTo>
                      <a:pt x="1210874" y="744496"/>
                    </a:lnTo>
                    <a:cubicBezTo>
                      <a:pt x="1409036" y="744496"/>
                      <a:pt x="1435605" y="724781"/>
                      <a:pt x="1435605" y="724781"/>
                    </a:cubicBezTo>
                    <a:lnTo>
                      <a:pt x="1435605" y="703449"/>
                    </a:lnTo>
                    <a:close/>
                  </a:path>
                </a:pathLst>
              </a:custGeom>
              <a:gradFill>
                <a:gsLst>
                  <a:gs pos="0">
                    <a:srgbClr val="F3F4F4"/>
                  </a:gs>
                  <a:gs pos="11000">
                    <a:srgbClr val="CCCDCF"/>
                  </a:gs>
                  <a:gs pos="19000">
                    <a:srgbClr val="B3B5B8"/>
                  </a:gs>
                  <a:gs pos="24000">
                    <a:srgbClr val="ABADB0"/>
                  </a:gs>
                  <a:gs pos="35000">
                    <a:srgbClr val="E6E7E8"/>
                  </a:gs>
                  <a:gs pos="61000">
                    <a:srgbClr val="C7C8CA"/>
                  </a:gs>
                  <a:gs pos="99000">
                    <a:srgbClr val="8A8C8E"/>
                  </a:gs>
                </a:gsLst>
                <a:lin ang="16200000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633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6AB1E2A6-FB3D-B9B0-BAE1-E939D143A384}"/>
                  </a:ext>
                </a:extLst>
              </p:cNvPr>
              <p:cNvSpPr/>
              <p:nvPr/>
            </p:nvSpPr>
            <p:spPr>
              <a:xfrm>
                <a:off x="6249804" y="6185444"/>
                <a:ext cx="1435637" cy="43103"/>
              </a:xfrm>
              <a:custGeom>
                <a:avLst/>
                <a:gdLst>
                  <a:gd name="connsiteX0" fmla="*/ 1435269 w 1435637"/>
                  <a:gd name="connsiteY0" fmla="*/ 0 h 43103"/>
                  <a:gd name="connsiteX1" fmla="*/ 1210867 w 1435637"/>
                  <a:gd name="connsiteY1" fmla="*/ 19358 h 43103"/>
                  <a:gd name="connsiteX2" fmla="*/ 224696 w 1435637"/>
                  <a:gd name="connsiteY2" fmla="*/ 19358 h 43103"/>
                  <a:gd name="connsiteX3" fmla="*/ 322 w 1435637"/>
                  <a:gd name="connsiteY3" fmla="*/ 0 h 43103"/>
                  <a:gd name="connsiteX4" fmla="*/ 20 w 1435637"/>
                  <a:gd name="connsiteY4" fmla="*/ 2029 h 43103"/>
                  <a:gd name="connsiteX5" fmla="*/ 20 w 1435637"/>
                  <a:gd name="connsiteY5" fmla="*/ 23389 h 43103"/>
                  <a:gd name="connsiteX6" fmla="*/ 224723 w 1435637"/>
                  <a:gd name="connsiteY6" fmla="*/ 43103 h 43103"/>
                  <a:gd name="connsiteX7" fmla="*/ 1210895 w 1435637"/>
                  <a:gd name="connsiteY7" fmla="*/ 43103 h 43103"/>
                  <a:gd name="connsiteX8" fmla="*/ 1435625 w 1435637"/>
                  <a:gd name="connsiteY8" fmla="*/ 23389 h 43103"/>
                  <a:gd name="connsiteX9" fmla="*/ 1435625 w 1435637"/>
                  <a:gd name="connsiteY9" fmla="*/ 2029 h 43103"/>
                  <a:gd name="connsiteX10" fmla="*/ 1435297 w 1435637"/>
                  <a:gd name="connsiteY10" fmla="*/ 0 h 43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35637" h="43103">
                    <a:moveTo>
                      <a:pt x="1435269" y="0"/>
                    </a:moveTo>
                    <a:cubicBezTo>
                      <a:pt x="1432363" y="2660"/>
                      <a:pt x="1393235" y="19358"/>
                      <a:pt x="1210867" y="19358"/>
                    </a:cubicBezTo>
                    <a:lnTo>
                      <a:pt x="224696" y="19358"/>
                    </a:lnTo>
                    <a:cubicBezTo>
                      <a:pt x="42329" y="19358"/>
                      <a:pt x="3201" y="2660"/>
                      <a:pt x="322" y="0"/>
                    </a:cubicBezTo>
                    <a:cubicBezTo>
                      <a:pt x="-117" y="1316"/>
                      <a:pt x="20" y="2029"/>
                      <a:pt x="20" y="2029"/>
                    </a:cubicBezTo>
                    <a:lnTo>
                      <a:pt x="20" y="23389"/>
                    </a:lnTo>
                    <a:cubicBezTo>
                      <a:pt x="20" y="23389"/>
                      <a:pt x="26563" y="43103"/>
                      <a:pt x="224723" y="43103"/>
                    </a:cubicBezTo>
                    <a:lnTo>
                      <a:pt x="1210895" y="43103"/>
                    </a:lnTo>
                    <a:cubicBezTo>
                      <a:pt x="1409056" y="43103"/>
                      <a:pt x="1435625" y="23389"/>
                      <a:pt x="1435625" y="23389"/>
                    </a:cubicBezTo>
                    <a:lnTo>
                      <a:pt x="1435625" y="2029"/>
                    </a:lnTo>
                    <a:cubicBezTo>
                      <a:pt x="1435625" y="2029"/>
                      <a:pt x="1435735" y="1316"/>
                      <a:pt x="1435297" y="0"/>
                    </a:cubicBezTo>
                    <a:close/>
                  </a:path>
                </a:pathLst>
              </a:custGeom>
              <a:gradFill>
                <a:gsLst>
                  <a:gs pos="19000">
                    <a:srgbClr val="ABADB0"/>
                  </a:gs>
                  <a:gs pos="99000">
                    <a:srgbClr val="8A8C8E"/>
                  </a:gs>
                </a:gsLst>
                <a:lin ang="16799923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633"/>
              </a:p>
            </p:txBody>
          </p:sp>
        </p:grp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8BCD543B-24C9-ECF4-C099-DB130C2517E7}"/>
                </a:ext>
              </a:extLst>
            </p:cNvPr>
            <p:cNvSpPr/>
            <p:nvPr/>
          </p:nvSpPr>
          <p:spPr>
            <a:xfrm>
              <a:off x="6946363" y="2746594"/>
              <a:ext cx="42445" cy="42445"/>
            </a:xfrm>
            <a:custGeom>
              <a:avLst/>
              <a:gdLst>
                <a:gd name="connsiteX0" fmla="*/ 42445 w 42445"/>
                <a:gd name="connsiteY0" fmla="*/ 21223 h 42445"/>
                <a:gd name="connsiteX1" fmla="*/ 21250 w 42445"/>
                <a:gd name="connsiteY1" fmla="*/ 42445 h 42445"/>
                <a:gd name="connsiteX2" fmla="*/ 0 w 42445"/>
                <a:gd name="connsiteY2" fmla="*/ 21223 h 42445"/>
                <a:gd name="connsiteX3" fmla="*/ 21250 w 42445"/>
                <a:gd name="connsiteY3" fmla="*/ 0 h 42445"/>
                <a:gd name="connsiteX4" fmla="*/ 42445 w 42445"/>
                <a:gd name="connsiteY4" fmla="*/ 21223 h 4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45" h="42445">
                  <a:moveTo>
                    <a:pt x="42445" y="21223"/>
                  </a:moveTo>
                  <a:cubicBezTo>
                    <a:pt x="42445" y="32958"/>
                    <a:pt x="32958" y="42445"/>
                    <a:pt x="21250" y="42445"/>
                  </a:cubicBezTo>
                  <a:cubicBezTo>
                    <a:pt x="9542" y="42445"/>
                    <a:pt x="0" y="32958"/>
                    <a:pt x="0" y="21223"/>
                  </a:cubicBezTo>
                  <a:cubicBezTo>
                    <a:pt x="0" y="9487"/>
                    <a:pt x="9488" y="0"/>
                    <a:pt x="21250" y="0"/>
                  </a:cubicBezTo>
                  <a:cubicBezTo>
                    <a:pt x="33013" y="0"/>
                    <a:pt x="42445" y="9515"/>
                    <a:pt x="42445" y="21223"/>
                  </a:cubicBezTo>
                  <a:close/>
                </a:path>
              </a:pathLst>
            </a:custGeom>
            <a:solidFill>
              <a:srgbClr val="424143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633"/>
            </a:p>
          </p:txBody>
        </p:sp>
      </p:grpSp>
      <p:sp>
        <p:nvSpPr>
          <p:cNvPr id="148" name="Google Shape;831;p25">
            <a:extLst>
              <a:ext uri="{FF2B5EF4-FFF2-40B4-BE49-F238E27FC236}">
                <a16:creationId xmlns:a16="http://schemas.microsoft.com/office/drawing/2014/main" id="{B86D9385-8DFA-86BD-7E83-90A29BF3CE8E}"/>
              </a:ext>
            </a:extLst>
          </p:cNvPr>
          <p:cNvSpPr>
            <a:spLocks/>
          </p:cNvSpPr>
          <p:nvPr/>
        </p:nvSpPr>
        <p:spPr>
          <a:xfrm>
            <a:off x="10612862" y="1932617"/>
            <a:ext cx="1419484" cy="1288986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30631" tIns="163288" rIns="130631" bIns="163288" anchor="t" anchorCtr="0">
            <a:noAutofit/>
          </a:bodyPr>
          <a:lstStyle/>
          <a:p>
            <a:pPr algn="ctr">
              <a:lnSpc>
                <a:spcPct val="130769"/>
              </a:lnSpc>
              <a:buClr>
                <a:schemeClr val="accent1"/>
              </a:buClr>
              <a:buSzPts val="1300"/>
            </a:pPr>
            <a:endParaRPr sz="1633" dirty="0"/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2BCA8F3D-E6A4-A150-B6CD-217C61FABDC3}"/>
              </a:ext>
            </a:extLst>
          </p:cNvPr>
          <p:cNvSpPr>
            <a:spLocks/>
          </p:cNvSpPr>
          <p:nvPr/>
        </p:nvSpPr>
        <p:spPr>
          <a:xfrm>
            <a:off x="10736040" y="2002442"/>
            <a:ext cx="1173127" cy="1065278"/>
          </a:xfrm>
          <a:prstGeom prst="rect">
            <a:avLst/>
          </a:prstGeom>
          <a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1326" b="-132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633"/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27FDA024-E37F-5419-35C7-F6C5DD8524D6}"/>
              </a:ext>
            </a:extLst>
          </p:cNvPr>
          <p:cNvGrpSpPr/>
          <p:nvPr/>
        </p:nvGrpSpPr>
        <p:grpSpPr>
          <a:xfrm>
            <a:off x="10068765" y="1692197"/>
            <a:ext cx="703197" cy="703197"/>
            <a:chOff x="4949498" y="6202259"/>
            <a:chExt cx="503992" cy="503992"/>
          </a:xfrm>
        </p:grpSpPr>
        <p:sp>
          <p:nvSpPr>
            <p:cNvPr id="151" name="Google Shape;558;p30">
              <a:extLst>
                <a:ext uri="{FF2B5EF4-FFF2-40B4-BE49-F238E27FC236}">
                  <a16:creationId xmlns:a16="http://schemas.microsoft.com/office/drawing/2014/main" id="{23575E16-6887-7F42-E087-9B0CDFCC5971}"/>
                </a:ext>
              </a:extLst>
            </p:cNvPr>
            <p:cNvSpPr/>
            <p:nvPr/>
          </p:nvSpPr>
          <p:spPr>
            <a:xfrm>
              <a:off x="4949498" y="6202259"/>
              <a:ext cx="503992" cy="503992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4" tIns="45698" rIns="91424" bIns="45698" anchor="ctr" anchorCtr="0">
              <a:noAutofit/>
            </a:bodyPr>
            <a:lstStyle/>
            <a:p>
              <a:pPr algn="ctr"/>
              <a:endParaRPr sz="1452">
                <a:solidFill>
                  <a:srgbClr val="FFFFFF"/>
                </a:solidFill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2" name="Graphic 151">
              <a:extLst>
                <a:ext uri="{FF2B5EF4-FFF2-40B4-BE49-F238E27FC236}">
                  <a16:creationId xmlns:a16="http://schemas.microsoft.com/office/drawing/2014/main" id="{867280D5-F53A-3C87-BC68-6DC2B4317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047634" y="6329021"/>
              <a:ext cx="307720" cy="250469"/>
            </a:xfrm>
            <a:prstGeom prst="rect">
              <a:avLst/>
            </a:prstGeom>
          </p:spPr>
        </p:pic>
      </p:grpSp>
      <p:sp>
        <p:nvSpPr>
          <p:cNvPr id="153" name="Google Shape;545;p30">
            <a:extLst>
              <a:ext uri="{FF2B5EF4-FFF2-40B4-BE49-F238E27FC236}">
                <a16:creationId xmlns:a16="http://schemas.microsoft.com/office/drawing/2014/main" id="{8662C1D1-245B-E4D7-E5BD-D6EE8CF01945}"/>
              </a:ext>
            </a:extLst>
          </p:cNvPr>
          <p:cNvSpPr>
            <a:spLocks/>
          </p:cNvSpPr>
          <p:nvPr/>
        </p:nvSpPr>
        <p:spPr>
          <a:xfrm>
            <a:off x="519343" y="1402296"/>
            <a:ext cx="5284292" cy="716872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177" b="1" dirty="0">
                <a:solidFill>
                  <a:srgbClr val="FFFFFF"/>
                </a:solidFill>
              </a:rPr>
              <a:t>Streamlined</a:t>
            </a:r>
            <a:r>
              <a:rPr lang="fr-FR" sz="2177" b="1" dirty="0">
                <a:solidFill>
                  <a:srgbClr val="FFFFFF"/>
                </a:solidFill>
              </a:rPr>
              <a:t> Data </a:t>
            </a:r>
            <a:r>
              <a:rPr lang="en-US" sz="2177" b="1" dirty="0">
                <a:solidFill>
                  <a:srgbClr val="FFFFFF"/>
                </a:solidFill>
              </a:rPr>
              <a:t>Collection</a:t>
            </a:r>
            <a:r>
              <a:rPr lang="fr-FR" sz="2177" b="1" dirty="0">
                <a:solidFill>
                  <a:srgbClr val="FFFFFF"/>
                </a:solidFill>
              </a:rPr>
              <a:t> </a:t>
            </a:r>
            <a:r>
              <a:rPr lang="en-US" sz="2177" b="1" dirty="0">
                <a:solidFill>
                  <a:srgbClr val="FFFFFF"/>
                </a:solidFill>
              </a:rPr>
              <a:t>Methodology</a:t>
            </a:r>
          </a:p>
        </p:txBody>
      </p:sp>
      <p:sp>
        <p:nvSpPr>
          <p:cNvPr id="157" name="Arc 156">
            <a:extLst>
              <a:ext uri="{FF2B5EF4-FFF2-40B4-BE49-F238E27FC236}">
                <a16:creationId xmlns:a16="http://schemas.microsoft.com/office/drawing/2014/main" id="{515D8BFD-517F-79F2-EE94-49D766177446}"/>
              </a:ext>
            </a:extLst>
          </p:cNvPr>
          <p:cNvSpPr/>
          <p:nvPr/>
        </p:nvSpPr>
        <p:spPr>
          <a:xfrm>
            <a:off x="8787079" y="2384692"/>
            <a:ext cx="1687946" cy="1687946"/>
          </a:xfrm>
          <a:prstGeom prst="arc">
            <a:avLst/>
          </a:prstGeom>
          <a:ln w="127000"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33"/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3A76E099-87A0-DA3A-9ECD-7FD6967A9BAD}"/>
              </a:ext>
            </a:extLst>
          </p:cNvPr>
          <p:cNvSpPr>
            <a:spLocks/>
          </p:cNvSpPr>
          <p:nvPr/>
        </p:nvSpPr>
        <p:spPr>
          <a:xfrm>
            <a:off x="8163689" y="3530953"/>
            <a:ext cx="3543385" cy="1892896"/>
          </a:xfrm>
          <a:prstGeom prst="rect">
            <a:avLst/>
          </a:prstGeom>
          <a:blipFill dpi="0"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882" t="-6700" r="-6320" b="-50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633" dirty="0"/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C2912C53-490B-265B-2621-1328EB647B07}"/>
              </a:ext>
            </a:extLst>
          </p:cNvPr>
          <p:cNvGrpSpPr/>
          <p:nvPr/>
        </p:nvGrpSpPr>
        <p:grpSpPr>
          <a:xfrm>
            <a:off x="7604859" y="2996756"/>
            <a:ext cx="703197" cy="703197"/>
            <a:chOff x="803725" y="4219935"/>
            <a:chExt cx="503992" cy="503992"/>
          </a:xfrm>
        </p:grpSpPr>
        <p:sp>
          <p:nvSpPr>
            <p:cNvPr id="155" name="Google Shape;554;p30">
              <a:extLst>
                <a:ext uri="{FF2B5EF4-FFF2-40B4-BE49-F238E27FC236}">
                  <a16:creationId xmlns:a16="http://schemas.microsoft.com/office/drawing/2014/main" id="{06756872-AE46-4F76-3767-69C4DF092A23}"/>
                </a:ext>
              </a:extLst>
            </p:cNvPr>
            <p:cNvSpPr/>
            <p:nvPr/>
          </p:nvSpPr>
          <p:spPr>
            <a:xfrm>
              <a:off x="803725" y="4219935"/>
              <a:ext cx="503992" cy="503992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4" tIns="45698" rIns="91424" bIns="45698" anchor="ctr" anchorCtr="0">
              <a:noAutofit/>
            </a:bodyPr>
            <a:lstStyle/>
            <a:p>
              <a:pPr algn="ctr"/>
              <a:endParaRPr sz="1452">
                <a:solidFill>
                  <a:srgbClr val="FFFFFF"/>
                </a:solidFill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6" name="Graphic 155">
              <a:extLst>
                <a:ext uri="{FF2B5EF4-FFF2-40B4-BE49-F238E27FC236}">
                  <a16:creationId xmlns:a16="http://schemas.microsoft.com/office/drawing/2014/main" id="{5B5B165E-EDA5-4589-4508-36483C1EF9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15849" y="4358082"/>
              <a:ext cx="279745" cy="2276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240886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7632E0-A9B6-6300-3681-8309FBA4D5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1863594"/>
              </p:ext>
            </p:extLst>
          </p:nvPr>
        </p:nvGraphicFramePr>
        <p:xfrm>
          <a:off x="1441" y="153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7632E0-A9B6-6300-3681-8309FBA4D5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41" y="153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BFFDC0C8-D41E-9249-5051-7FD07B915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664"/>
            <a:ext cx="11089972" cy="886350"/>
          </a:xfrm>
        </p:spPr>
        <p:txBody>
          <a:bodyPr vert="horz"/>
          <a:lstStyle/>
          <a:p>
            <a:r>
              <a:rPr lang="en-US" dirty="0"/>
              <a:t>Geospatial Analysis of Labor Catchment: </a:t>
            </a:r>
            <a:br>
              <a:rPr lang="en-US" dirty="0"/>
            </a:br>
            <a:r>
              <a:rPr lang="en-US" dirty="0"/>
              <a:t>Assessing Employment and Demographic Patterns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8D25C050-5377-E25A-F073-4CCABE6F6C54}"/>
              </a:ext>
            </a:extLst>
          </p:cNvPr>
          <p:cNvSpPr>
            <a:spLocks/>
          </p:cNvSpPr>
          <p:nvPr/>
        </p:nvSpPr>
        <p:spPr>
          <a:xfrm flipH="1">
            <a:off x="10346988" y="560664"/>
            <a:ext cx="1845013" cy="886350"/>
          </a:xfrm>
          <a:prstGeom prst="homePlate">
            <a:avLst>
              <a:gd name="adj" fmla="val 1507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544">
              <a:buClr>
                <a:srgbClr val="000000"/>
              </a:buClr>
            </a:pPr>
            <a:endParaRPr lang="en-US" sz="1270" kern="0">
              <a:solidFill>
                <a:srgbClr val="FFFFFF"/>
              </a:solidFill>
              <a:latin typeface="Calibri" panose="020F0502020204030204"/>
              <a:sym typeface="Arial"/>
            </a:endParaRPr>
          </a:p>
        </p:txBody>
      </p:sp>
      <p:pic>
        <p:nvPicPr>
          <p:cNvPr id="7" name="Google Shape;547;p30">
            <a:extLst>
              <a:ext uri="{FF2B5EF4-FFF2-40B4-BE49-F238E27FC236}">
                <a16:creationId xmlns:a16="http://schemas.microsoft.com/office/drawing/2014/main" id="{9FAAC4DC-3825-57EC-0FC1-A066631B09DB}"/>
              </a:ext>
            </a:extLst>
          </p:cNvPr>
          <p:cNvPicPr preferRelativeResize="0"/>
          <p:nvPr/>
        </p:nvPicPr>
        <p:blipFill rotWithShape="1">
          <a:blip r:embed="rId5" cstate="print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9711" y="615062"/>
            <a:ext cx="861050" cy="77755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831;p25">
            <a:extLst>
              <a:ext uri="{FF2B5EF4-FFF2-40B4-BE49-F238E27FC236}">
                <a16:creationId xmlns:a16="http://schemas.microsoft.com/office/drawing/2014/main" id="{AC0603C7-F978-FD43-3417-DA06CFFD3C37}"/>
              </a:ext>
            </a:extLst>
          </p:cNvPr>
          <p:cNvSpPr>
            <a:spLocks/>
          </p:cNvSpPr>
          <p:nvPr/>
        </p:nvSpPr>
        <p:spPr>
          <a:xfrm>
            <a:off x="499720" y="2096783"/>
            <a:ext cx="3654893" cy="4377757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30631" tIns="163288" rIns="130631" bIns="163288" anchor="t" anchorCtr="0">
            <a:noAutofit/>
          </a:bodyPr>
          <a:lstStyle/>
          <a:p>
            <a:pPr algn="ctr" defTabSz="829544">
              <a:lnSpc>
                <a:spcPct val="130769"/>
              </a:lnSpc>
              <a:buClr>
                <a:srgbClr val="00B9FF"/>
              </a:buClr>
              <a:buSzPts val="1300"/>
            </a:pPr>
            <a:endParaRPr lang="en-US" sz="127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Google Shape;831;p25">
            <a:extLst>
              <a:ext uri="{FF2B5EF4-FFF2-40B4-BE49-F238E27FC236}">
                <a16:creationId xmlns:a16="http://schemas.microsoft.com/office/drawing/2014/main" id="{52CAA3C6-ADF7-FB94-F057-9F0BD640C672}"/>
              </a:ext>
            </a:extLst>
          </p:cNvPr>
          <p:cNvSpPr>
            <a:spLocks/>
          </p:cNvSpPr>
          <p:nvPr/>
        </p:nvSpPr>
        <p:spPr>
          <a:xfrm>
            <a:off x="8035681" y="2096784"/>
            <a:ext cx="3654893" cy="4377756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30631" tIns="163288" rIns="130631" bIns="163288" anchor="t" anchorCtr="0">
            <a:noAutofit/>
          </a:bodyPr>
          <a:lstStyle/>
          <a:p>
            <a:pPr algn="ctr" defTabSz="829544">
              <a:lnSpc>
                <a:spcPct val="130769"/>
              </a:lnSpc>
              <a:buClr>
                <a:srgbClr val="00B9FF"/>
              </a:buClr>
              <a:buSzPts val="1300"/>
            </a:pPr>
            <a:endParaRPr sz="127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Google Shape;831;p25">
            <a:extLst>
              <a:ext uri="{FF2B5EF4-FFF2-40B4-BE49-F238E27FC236}">
                <a16:creationId xmlns:a16="http://schemas.microsoft.com/office/drawing/2014/main" id="{A41EF20E-668B-6A10-A56A-84BE64FD2428}"/>
              </a:ext>
            </a:extLst>
          </p:cNvPr>
          <p:cNvSpPr>
            <a:spLocks/>
          </p:cNvSpPr>
          <p:nvPr/>
        </p:nvSpPr>
        <p:spPr>
          <a:xfrm>
            <a:off x="4268554" y="2096784"/>
            <a:ext cx="3654893" cy="4377756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30631" tIns="163288" rIns="130631" bIns="163288" anchor="t" anchorCtr="0">
            <a:noAutofit/>
          </a:bodyPr>
          <a:lstStyle/>
          <a:p>
            <a:pPr algn="ctr" defTabSz="829544">
              <a:lnSpc>
                <a:spcPct val="130769"/>
              </a:lnSpc>
              <a:buClr>
                <a:srgbClr val="00B9FF"/>
              </a:buClr>
              <a:buSzPts val="1300"/>
            </a:pPr>
            <a:endParaRPr sz="127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" name="Google Shape;540;p30">
            <a:extLst>
              <a:ext uri="{FF2B5EF4-FFF2-40B4-BE49-F238E27FC236}">
                <a16:creationId xmlns:a16="http://schemas.microsoft.com/office/drawing/2014/main" id="{6BFAFB3C-793B-14F2-55F6-5615C6B8E87A}"/>
              </a:ext>
            </a:extLst>
          </p:cNvPr>
          <p:cNvSpPr>
            <a:spLocks/>
          </p:cNvSpPr>
          <p:nvPr/>
        </p:nvSpPr>
        <p:spPr>
          <a:xfrm>
            <a:off x="8025868" y="1686527"/>
            <a:ext cx="3654893" cy="713863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algn="ctr" defTabSz="829544">
              <a:buClr>
                <a:srgbClr val="000000"/>
              </a:buClr>
            </a:pPr>
            <a:endParaRPr sz="2053" b="1" kern="0">
              <a:solidFill>
                <a:srgbClr val="FFFFFF"/>
              </a:solidFill>
              <a:highlight>
                <a:srgbClr val="FFFF00"/>
              </a:highlight>
              <a:latin typeface="Arial"/>
              <a:cs typeface="Arial"/>
              <a:sym typeface="Arial"/>
            </a:endParaRPr>
          </a:p>
        </p:txBody>
      </p:sp>
      <p:sp>
        <p:nvSpPr>
          <p:cNvPr id="16" name="Google Shape;545;p30">
            <a:extLst>
              <a:ext uri="{FF2B5EF4-FFF2-40B4-BE49-F238E27FC236}">
                <a16:creationId xmlns:a16="http://schemas.microsoft.com/office/drawing/2014/main" id="{AE014B29-22FD-E08A-F4AF-7733683C7771}"/>
              </a:ext>
            </a:extLst>
          </p:cNvPr>
          <p:cNvSpPr>
            <a:spLocks/>
          </p:cNvSpPr>
          <p:nvPr/>
        </p:nvSpPr>
        <p:spPr>
          <a:xfrm>
            <a:off x="499720" y="1685023"/>
            <a:ext cx="3654893" cy="716872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algn="ctr" defTabSz="829544">
              <a:buClr>
                <a:srgbClr val="000000"/>
              </a:buClr>
            </a:pPr>
            <a:endParaRPr sz="1401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FEE4393-D412-D55C-3EAC-C3FC0C8F7AE4}"/>
              </a:ext>
            </a:extLst>
          </p:cNvPr>
          <p:cNvGrpSpPr/>
          <p:nvPr/>
        </p:nvGrpSpPr>
        <p:grpSpPr>
          <a:xfrm>
            <a:off x="3465991" y="1746794"/>
            <a:ext cx="592190" cy="593331"/>
            <a:chOff x="3416568" y="1395569"/>
            <a:chExt cx="955760" cy="957600"/>
          </a:xfrm>
        </p:grpSpPr>
        <p:sp>
          <p:nvSpPr>
            <p:cNvPr id="19" name="Google Shape;551;p30">
              <a:extLst>
                <a:ext uri="{FF2B5EF4-FFF2-40B4-BE49-F238E27FC236}">
                  <a16:creationId xmlns:a16="http://schemas.microsoft.com/office/drawing/2014/main" id="{73D1234C-2C67-2EB7-D5F5-24121A4F62B5}"/>
                </a:ext>
              </a:extLst>
            </p:cNvPr>
            <p:cNvSpPr/>
            <p:nvPr/>
          </p:nvSpPr>
          <p:spPr>
            <a:xfrm>
              <a:off x="3416568" y="1395569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4" tIns="45698" rIns="91424" bIns="45698" anchor="ctr" anchorCtr="0">
              <a:noAutofit/>
            </a:bodyPr>
            <a:lstStyle/>
            <a:p>
              <a:pPr algn="ctr" defTabSz="829544">
                <a:buClr>
                  <a:srgbClr val="000000"/>
                </a:buClr>
              </a:pPr>
              <a:endParaRPr sz="1401" kern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  <p:pic>
          <p:nvPicPr>
            <p:cNvPr id="20" name="Google Shape;552;p30">
              <a:extLst>
                <a:ext uri="{FF2B5EF4-FFF2-40B4-BE49-F238E27FC236}">
                  <a16:creationId xmlns:a16="http://schemas.microsoft.com/office/drawing/2014/main" id="{FBDA501D-A570-09C1-42DF-BA93CAB7C45D}"/>
                </a:ext>
              </a:extLst>
            </p:cNvPr>
            <p:cNvPicPr preferRelativeResize="0"/>
            <p:nvPr/>
          </p:nvPicPr>
          <p:blipFill rotWithShape="1">
            <a:blip r:embed="rId7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568608" y="1548529"/>
              <a:ext cx="651681" cy="6516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1" name="Google Shape;566;p30">
            <a:extLst>
              <a:ext uri="{FF2B5EF4-FFF2-40B4-BE49-F238E27FC236}">
                <a16:creationId xmlns:a16="http://schemas.microsoft.com/office/drawing/2014/main" id="{802C6218-0E8B-29B8-9AB9-A60612607102}"/>
              </a:ext>
            </a:extLst>
          </p:cNvPr>
          <p:cNvSpPr>
            <a:spLocks/>
          </p:cNvSpPr>
          <p:nvPr/>
        </p:nvSpPr>
        <p:spPr>
          <a:xfrm>
            <a:off x="4262794" y="1685023"/>
            <a:ext cx="3654893" cy="716872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algn="ctr" defTabSz="829544">
              <a:buClr>
                <a:srgbClr val="000000"/>
              </a:buClr>
            </a:pPr>
            <a:endParaRPr sz="1597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31B6241-4A24-5448-8E21-D74ED4AE2693}"/>
              </a:ext>
            </a:extLst>
          </p:cNvPr>
          <p:cNvGrpSpPr/>
          <p:nvPr/>
        </p:nvGrpSpPr>
        <p:grpSpPr>
          <a:xfrm>
            <a:off x="7222958" y="1746794"/>
            <a:ext cx="592190" cy="593331"/>
            <a:chOff x="7762572" y="1395569"/>
            <a:chExt cx="955760" cy="957600"/>
          </a:xfrm>
        </p:grpSpPr>
        <p:sp>
          <p:nvSpPr>
            <p:cNvPr id="24" name="Google Shape;568;p30">
              <a:extLst>
                <a:ext uri="{FF2B5EF4-FFF2-40B4-BE49-F238E27FC236}">
                  <a16:creationId xmlns:a16="http://schemas.microsoft.com/office/drawing/2014/main" id="{C8BA6C61-57F7-5455-045C-6A0D5EDACDBB}"/>
                </a:ext>
              </a:extLst>
            </p:cNvPr>
            <p:cNvSpPr/>
            <p:nvPr/>
          </p:nvSpPr>
          <p:spPr>
            <a:xfrm>
              <a:off x="7762572" y="1395569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4" tIns="45698" rIns="91424" bIns="45698" anchor="ctr" anchorCtr="0">
              <a:noAutofit/>
            </a:bodyPr>
            <a:lstStyle/>
            <a:p>
              <a:pPr algn="ctr" defTabSz="829544">
                <a:buClr>
                  <a:srgbClr val="000000"/>
                </a:buClr>
              </a:pPr>
              <a:endParaRPr sz="1597" kern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  <p:pic>
          <p:nvPicPr>
            <p:cNvPr id="25" name="Google Shape;569;p30">
              <a:extLst>
                <a:ext uri="{FF2B5EF4-FFF2-40B4-BE49-F238E27FC236}">
                  <a16:creationId xmlns:a16="http://schemas.microsoft.com/office/drawing/2014/main" id="{CA0C2E3B-7276-F3E1-73F8-BA140D862055}"/>
                </a:ext>
              </a:extLst>
            </p:cNvPr>
            <p:cNvPicPr preferRelativeResize="0"/>
            <p:nvPr/>
          </p:nvPicPr>
          <p:blipFill rotWithShape="1">
            <a:blip r:embed="rId8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09107" y="1543024"/>
              <a:ext cx="662691" cy="66269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AE51361-A263-536C-DAD8-B16B27843287}"/>
              </a:ext>
            </a:extLst>
          </p:cNvPr>
          <p:cNvGrpSpPr/>
          <p:nvPr/>
        </p:nvGrpSpPr>
        <p:grpSpPr>
          <a:xfrm>
            <a:off x="10997736" y="1746794"/>
            <a:ext cx="592190" cy="593331"/>
            <a:chOff x="12019931" y="1366765"/>
            <a:chExt cx="955760" cy="957600"/>
          </a:xfrm>
        </p:grpSpPr>
        <p:sp>
          <p:nvSpPr>
            <p:cNvPr id="27" name="Google Shape;583;p30">
              <a:extLst>
                <a:ext uri="{FF2B5EF4-FFF2-40B4-BE49-F238E27FC236}">
                  <a16:creationId xmlns:a16="http://schemas.microsoft.com/office/drawing/2014/main" id="{03AF0B2E-D144-D1AC-B940-50B2FD3F9BCE}"/>
                </a:ext>
              </a:extLst>
            </p:cNvPr>
            <p:cNvSpPr/>
            <p:nvPr/>
          </p:nvSpPr>
          <p:spPr>
            <a:xfrm>
              <a:off x="12019931" y="1366765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4" tIns="45698" rIns="91424" bIns="45698" anchor="ctr" anchorCtr="0">
              <a:noAutofit/>
            </a:bodyPr>
            <a:lstStyle/>
            <a:p>
              <a:pPr algn="ctr" defTabSz="829544">
                <a:buClr>
                  <a:srgbClr val="000000"/>
                </a:buClr>
              </a:pPr>
              <a:endParaRPr sz="1401" kern="0">
                <a:solidFill>
                  <a:srgbClr val="FFFFFF"/>
                </a:solidFill>
                <a:highlight>
                  <a:srgbClr val="FFFF00"/>
                </a:highlight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28" name="Google Shape;584;p30">
              <a:extLst>
                <a:ext uri="{FF2B5EF4-FFF2-40B4-BE49-F238E27FC236}">
                  <a16:creationId xmlns:a16="http://schemas.microsoft.com/office/drawing/2014/main" id="{6827B9F5-1B5C-9594-DF97-9B4EA627F0D5}"/>
                </a:ext>
              </a:extLst>
            </p:cNvPr>
            <p:cNvGrpSpPr/>
            <p:nvPr/>
          </p:nvGrpSpPr>
          <p:grpSpPr>
            <a:xfrm>
              <a:off x="12226115" y="1593618"/>
              <a:ext cx="543392" cy="503895"/>
              <a:chOff x="10915170" y="2075424"/>
              <a:chExt cx="432288" cy="400866"/>
            </a:xfrm>
          </p:grpSpPr>
          <p:sp>
            <p:nvSpPr>
              <p:cNvPr id="29" name="Google Shape;585;p30">
                <a:extLst>
                  <a:ext uri="{FF2B5EF4-FFF2-40B4-BE49-F238E27FC236}">
                    <a16:creationId xmlns:a16="http://schemas.microsoft.com/office/drawing/2014/main" id="{835E3102-15A4-CFC1-F0F5-5259256C032F}"/>
                  </a:ext>
                </a:extLst>
              </p:cNvPr>
              <p:cNvSpPr/>
              <p:nvPr/>
            </p:nvSpPr>
            <p:spPr>
              <a:xfrm>
                <a:off x="10915170" y="2075424"/>
                <a:ext cx="432288" cy="400866"/>
              </a:xfrm>
              <a:custGeom>
                <a:avLst/>
                <a:gdLst/>
                <a:ahLst/>
                <a:cxnLst/>
                <a:rect l="l" t="t" r="r" b="b"/>
                <a:pathLst>
                  <a:path w="840" h="806" extrusionOk="0">
                    <a:moveTo>
                      <a:pt x="831" y="80"/>
                    </a:moveTo>
                    <a:cubicBezTo>
                      <a:pt x="114" y="80"/>
                      <a:pt x="114" y="80"/>
                      <a:pt x="114" y="80"/>
                    </a:cubicBezTo>
                    <a:cubicBezTo>
                      <a:pt x="114" y="8"/>
                      <a:pt x="114" y="8"/>
                      <a:pt x="114" y="8"/>
                    </a:cubicBezTo>
                    <a:cubicBezTo>
                      <a:pt x="114" y="4"/>
                      <a:pt x="110" y="0"/>
                      <a:pt x="105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25" y="0"/>
                      <a:pt x="0" y="25"/>
                      <a:pt x="0" y="57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0" y="780"/>
                      <a:pt x="25" y="806"/>
                      <a:pt x="57" y="806"/>
                    </a:cubicBezTo>
                    <a:cubicBezTo>
                      <a:pt x="95" y="806"/>
                      <a:pt x="95" y="806"/>
                      <a:pt x="95" y="806"/>
                    </a:cubicBezTo>
                    <a:cubicBezTo>
                      <a:pt x="105" y="806"/>
                      <a:pt x="105" y="806"/>
                      <a:pt x="105" y="806"/>
                    </a:cubicBezTo>
                    <a:cubicBezTo>
                      <a:pt x="831" y="806"/>
                      <a:pt x="831" y="806"/>
                      <a:pt x="831" y="806"/>
                    </a:cubicBezTo>
                    <a:cubicBezTo>
                      <a:pt x="836" y="806"/>
                      <a:pt x="840" y="802"/>
                      <a:pt x="840" y="797"/>
                    </a:cubicBezTo>
                    <a:cubicBezTo>
                      <a:pt x="840" y="89"/>
                      <a:pt x="840" y="89"/>
                      <a:pt x="840" y="89"/>
                    </a:cubicBezTo>
                    <a:cubicBezTo>
                      <a:pt x="840" y="84"/>
                      <a:pt x="836" y="80"/>
                      <a:pt x="831" y="80"/>
                    </a:cubicBezTo>
                    <a:close/>
                    <a:moveTo>
                      <a:pt x="57" y="17"/>
                    </a:moveTo>
                    <a:cubicBezTo>
                      <a:pt x="97" y="17"/>
                      <a:pt x="97" y="17"/>
                      <a:pt x="97" y="17"/>
                    </a:cubicBezTo>
                    <a:cubicBezTo>
                      <a:pt x="97" y="692"/>
                      <a:pt x="97" y="692"/>
                      <a:pt x="97" y="692"/>
                    </a:cubicBezTo>
                    <a:cubicBezTo>
                      <a:pt x="57" y="692"/>
                      <a:pt x="57" y="692"/>
                      <a:pt x="57" y="692"/>
                    </a:cubicBezTo>
                    <a:cubicBezTo>
                      <a:pt x="41" y="692"/>
                      <a:pt x="27" y="698"/>
                      <a:pt x="17" y="70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35"/>
                      <a:pt x="35" y="17"/>
                      <a:pt x="57" y="17"/>
                    </a:cubicBezTo>
                    <a:close/>
                    <a:moveTo>
                      <a:pt x="823" y="788"/>
                    </a:moveTo>
                    <a:cubicBezTo>
                      <a:pt x="105" y="788"/>
                      <a:pt x="105" y="788"/>
                      <a:pt x="105" y="788"/>
                    </a:cubicBezTo>
                    <a:cubicBezTo>
                      <a:pt x="95" y="788"/>
                      <a:pt x="95" y="788"/>
                      <a:pt x="95" y="788"/>
                    </a:cubicBezTo>
                    <a:cubicBezTo>
                      <a:pt x="57" y="788"/>
                      <a:pt x="57" y="788"/>
                      <a:pt x="57" y="788"/>
                    </a:cubicBezTo>
                    <a:cubicBezTo>
                      <a:pt x="35" y="788"/>
                      <a:pt x="17" y="771"/>
                      <a:pt x="17" y="749"/>
                    </a:cubicBezTo>
                    <a:cubicBezTo>
                      <a:pt x="17" y="727"/>
                      <a:pt x="35" y="709"/>
                      <a:pt x="57" y="709"/>
                    </a:cubicBezTo>
                    <a:cubicBezTo>
                      <a:pt x="105" y="709"/>
                      <a:pt x="105" y="709"/>
                      <a:pt x="105" y="709"/>
                    </a:cubicBezTo>
                    <a:cubicBezTo>
                      <a:pt x="110" y="709"/>
                      <a:pt x="114" y="705"/>
                      <a:pt x="114" y="700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823" y="98"/>
                      <a:pt x="823" y="98"/>
                      <a:pt x="823" y="98"/>
                    </a:cubicBezTo>
                    <a:lnTo>
                      <a:pt x="823" y="788"/>
                    </a:lnTo>
                    <a:close/>
                  </a:path>
                </a:pathLst>
              </a:custGeom>
              <a:noFill/>
              <a:ln w="63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4" tIns="45698" rIns="91424" bIns="45698" anchor="t" anchorCtr="0">
                <a:noAutofit/>
              </a:bodyPr>
              <a:lstStyle/>
              <a:p>
                <a:pPr defTabSz="829544">
                  <a:buClr>
                    <a:srgbClr val="000000"/>
                  </a:buClr>
                </a:pPr>
                <a:endParaRPr sz="1801" kern="0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" name="Google Shape;586;p30">
                <a:extLst>
                  <a:ext uri="{FF2B5EF4-FFF2-40B4-BE49-F238E27FC236}">
                    <a16:creationId xmlns:a16="http://schemas.microsoft.com/office/drawing/2014/main" id="{A1560FED-75CB-A814-B621-705C4284CCEC}"/>
                  </a:ext>
                </a:extLst>
              </p:cNvPr>
              <p:cNvSpPr/>
              <p:nvPr/>
            </p:nvSpPr>
            <p:spPr>
              <a:xfrm>
                <a:off x="11005647" y="2167089"/>
                <a:ext cx="282550" cy="266407"/>
              </a:xfrm>
              <a:custGeom>
                <a:avLst/>
                <a:gdLst/>
                <a:ahLst/>
                <a:cxnLst/>
                <a:rect l="l" t="t" r="r" b="b"/>
                <a:pathLst>
                  <a:path w="549" h="537" extrusionOk="0">
                    <a:moveTo>
                      <a:pt x="4" y="226"/>
                    </a:moveTo>
                    <a:cubicBezTo>
                      <a:pt x="71" y="293"/>
                      <a:pt x="71" y="293"/>
                      <a:pt x="71" y="293"/>
                    </a:cubicBezTo>
                    <a:cubicBezTo>
                      <a:pt x="73" y="295"/>
                      <a:pt x="75" y="296"/>
                      <a:pt x="77" y="296"/>
                    </a:cubicBezTo>
                    <a:cubicBezTo>
                      <a:pt x="79" y="296"/>
                      <a:pt x="81" y="295"/>
                      <a:pt x="83" y="293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295" y="229"/>
                      <a:pt x="295" y="229"/>
                      <a:pt x="295" y="229"/>
                    </a:cubicBezTo>
                    <a:cubicBezTo>
                      <a:pt x="437" y="229"/>
                      <a:pt x="437" y="229"/>
                      <a:pt x="437" y="229"/>
                    </a:cubicBezTo>
                    <a:cubicBezTo>
                      <a:pt x="437" y="268"/>
                      <a:pt x="437" y="268"/>
                      <a:pt x="437" y="268"/>
                    </a:cubicBezTo>
                    <a:cubicBezTo>
                      <a:pt x="437" y="272"/>
                      <a:pt x="441" y="276"/>
                      <a:pt x="446" y="276"/>
                    </a:cubicBezTo>
                    <a:cubicBezTo>
                      <a:pt x="484" y="276"/>
                      <a:pt x="484" y="276"/>
                      <a:pt x="484" y="276"/>
                    </a:cubicBezTo>
                    <a:cubicBezTo>
                      <a:pt x="484" y="418"/>
                      <a:pt x="484" y="418"/>
                      <a:pt x="484" y="418"/>
                    </a:cubicBezTo>
                    <a:cubicBezTo>
                      <a:pt x="460" y="422"/>
                      <a:pt x="442" y="441"/>
                      <a:pt x="438" y="465"/>
                    </a:cubicBezTo>
                    <a:cubicBezTo>
                      <a:pt x="116" y="465"/>
                      <a:pt x="116" y="465"/>
                      <a:pt x="116" y="465"/>
                    </a:cubicBezTo>
                    <a:cubicBezTo>
                      <a:pt x="116" y="419"/>
                      <a:pt x="116" y="419"/>
                      <a:pt x="116" y="419"/>
                    </a:cubicBezTo>
                    <a:cubicBezTo>
                      <a:pt x="116" y="416"/>
                      <a:pt x="115" y="413"/>
                      <a:pt x="112" y="411"/>
                    </a:cubicBezTo>
                    <a:cubicBezTo>
                      <a:pt x="110" y="410"/>
                      <a:pt x="106" y="410"/>
                      <a:pt x="104" y="411"/>
                    </a:cubicBezTo>
                    <a:cubicBezTo>
                      <a:pt x="9" y="466"/>
                      <a:pt x="9" y="466"/>
                      <a:pt x="9" y="466"/>
                    </a:cubicBezTo>
                    <a:cubicBezTo>
                      <a:pt x="6" y="468"/>
                      <a:pt x="5" y="470"/>
                      <a:pt x="5" y="474"/>
                    </a:cubicBezTo>
                    <a:cubicBezTo>
                      <a:pt x="5" y="477"/>
                      <a:pt x="6" y="479"/>
                      <a:pt x="9" y="481"/>
                    </a:cubicBezTo>
                    <a:cubicBezTo>
                      <a:pt x="104" y="536"/>
                      <a:pt x="104" y="536"/>
                      <a:pt x="104" y="536"/>
                    </a:cubicBezTo>
                    <a:cubicBezTo>
                      <a:pt x="105" y="536"/>
                      <a:pt x="106" y="537"/>
                      <a:pt x="108" y="537"/>
                    </a:cubicBezTo>
                    <a:cubicBezTo>
                      <a:pt x="109" y="537"/>
                      <a:pt x="111" y="536"/>
                      <a:pt x="112" y="536"/>
                    </a:cubicBezTo>
                    <a:cubicBezTo>
                      <a:pt x="115" y="534"/>
                      <a:pt x="116" y="531"/>
                      <a:pt x="116" y="528"/>
                    </a:cubicBezTo>
                    <a:cubicBezTo>
                      <a:pt x="116" y="482"/>
                      <a:pt x="116" y="482"/>
                      <a:pt x="116" y="482"/>
                    </a:cubicBezTo>
                    <a:cubicBezTo>
                      <a:pt x="438" y="482"/>
                      <a:pt x="438" y="482"/>
                      <a:pt x="438" y="482"/>
                    </a:cubicBezTo>
                    <a:cubicBezTo>
                      <a:pt x="442" y="509"/>
                      <a:pt x="465" y="530"/>
                      <a:pt x="493" y="530"/>
                    </a:cubicBezTo>
                    <a:cubicBezTo>
                      <a:pt x="524" y="530"/>
                      <a:pt x="549" y="504"/>
                      <a:pt x="549" y="474"/>
                    </a:cubicBezTo>
                    <a:cubicBezTo>
                      <a:pt x="549" y="446"/>
                      <a:pt x="528" y="423"/>
                      <a:pt x="502" y="418"/>
                    </a:cubicBezTo>
                    <a:cubicBezTo>
                      <a:pt x="502" y="276"/>
                      <a:pt x="502" y="276"/>
                      <a:pt x="502" y="276"/>
                    </a:cubicBezTo>
                    <a:cubicBezTo>
                      <a:pt x="540" y="276"/>
                      <a:pt x="540" y="276"/>
                      <a:pt x="540" y="276"/>
                    </a:cubicBezTo>
                    <a:cubicBezTo>
                      <a:pt x="545" y="276"/>
                      <a:pt x="549" y="272"/>
                      <a:pt x="549" y="268"/>
                    </a:cubicBezTo>
                    <a:cubicBezTo>
                      <a:pt x="549" y="173"/>
                      <a:pt x="549" y="173"/>
                      <a:pt x="549" y="173"/>
                    </a:cubicBezTo>
                    <a:cubicBezTo>
                      <a:pt x="549" y="168"/>
                      <a:pt x="545" y="164"/>
                      <a:pt x="540" y="164"/>
                    </a:cubicBezTo>
                    <a:cubicBezTo>
                      <a:pt x="446" y="164"/>
                      <a:pt x="446" y="164"/>
                      <a:pt x="446" y="164"/>
                    </a:cubicBezTo>
                    <a:cubicBezTo>
                      <a:pt x="441" y="164"/>
                      <a:pt x="437" y="168"/>
                      <a:pt x="437" y="173"/>
                    </a:cubicBezTo>
                    <a:cubicBezTo>
                      <a:pt x="437" y="212"/>
                      <a:pt x="437" y="212"/>
                      <a:pt x="437" y="212"/>
                    </a:cubicBezTo>
                    <a:cubicBezTo>
                      <a:pt x="303" y="212"/>
                      <a:pt x="303" y="212"/>
                      <a:pt x="303" y="212"/>
                    </a:cubicBezTo>
                    <a:cubicBezTo>
                      <a:pt x="303" y="140"/>
                      <a:pt x="303" y="140"/>
                      <a:pt x="303" y="140"/>
                    </a:cubicBezTo>
                    <a:cubicBezTo>
                      <a:pt x="338" y="136"/>
                      <a:pt x="365" y="107"/>
                      <a:pt x="365" y="71"/>
                    </a:cubicBezTo>
                    <a:cubicBezTo>
                      <a:pt x="365" y="32"/>
                      <a:pt x="334" y="0"/>
                      <a:pt x="295" y="0"/>
                    </a:cubicBezTo>
                    <a:cubicBezTo>
                      <a:pt x="259" y="0"/>
                      <a:pt x="230" y="27"/>
                      <a:pt x="225" y="62"/>
                    </a:cubicBezTo>
                    <a:cubicBezTo>
                      <a:pt x="77" y="62"/>
                      <a:pt x="77" y="62"/>
                      <a:pt x="77" y="62"/>
                    </a:cubicBezTo>
                    <a:cubicBezTo>
                      <a:pt x="72" y="62"/>
                      <a:pt x="68" y="66"/>
                      <a:pt x="68" y="71"/>
                    </a:cubicBezTo>
                    <a:cubicBezTo>
                      <a:pt x="68" y="150"/>
                      <a:pt x="68" y="150"/>
                      <a:pt x="68" y="150"/>
                    </a:cubicBezTo>
                    <a:cubicBezTo>
                      <a:pt x="4" y="214"/>
                      <a:pt x="4" y="214"/>
                      <a:pt x="4" y="214"/>
                    </a:cubicBezTo>
                    <a:cubicBezTo>
                      <a:pt x="0" y="217"/>
                      <a:pt x="0" y="223"/>
                      <a:pt x="4" y="226"/>
                    </a:cubicBezTo>
                    <a:close/>
                    <a:moveTo>
                      <a:pt x="99" y="513"/>
                    </a:moveTo>
                    <a:cubicBezTo>
                      <a:pt x="30" y="474"/>
                      <a:pt x="30" y="474"/>
                      <a:pt x="30" y="474"/>
                    </a:cubicBezTo>
                    <a:cubicBezTo>
                      <a:pt x="99" y="434"/>
                      <a:pt x="99" y="434"/>
                      <a:pt x="99" y="434"/>
                    </a:cubicBezTo>
                    <a:lnTo>
                      <a:pt x="99" y="513"/>
                    </a:lnTo>
                    <a:close/>
                    <a:moveTo>
                      <a:pt x="532" y="474"/>
                    </a:moveTo>
                    <a:cubicBezTo>
                      <a:pt x="532" y="495"/>
                      <a:pt x="514" y="512"/>
                      <a:pt x="493" y="512"/>
                    </a:cubicBezTo>
                    <a:cubicBezTo>
                      <a:pt x="472" y="512"/>
                      <a:pt x="454" y="495"/>
                      <a:pt x="454" y="474"/>
                    </a:cubicBezTo>
                    <a:cubicBezTo>
                      <a:pt x="454" y="452"/>
                      <a:pt x="472" y="435"/>
                      <a:pt x="493" y="435"/>
                    </a:cubicBezTo>
                    <a:cubicBezTo>
                      <a:pt x="514" y="435"/>
                      <a:pt x="532" y="452"/>
                      <a:pt x="532" y="474"/>
                    </a:cubicBezTo>
                    <a:close/>
                    <a:moveTo>
                      <a:pt x="454" y="181"/>
                    </a:moveTo>
                    <a:cubicBezTo>
                      <a:pt x="532" y="181"/>
                      <a:pt x="532" y="181"/>
                      <a:pt x="532" y="181"/>
                    </a:cubicBezTo>
                    <a:cubicBezTo>
                      <a:pt x="532" y="259"/>
                      <a:pt x="532" y="259"/>
                      <a:pt x="532" y="259"/>
                    </a:cubicBezTo>
                    <a:cubicBezTo>
                      <a:pt x="454" y="259"/>
                      <a:pt x="454" y="259"/>
                      <a:pt x="454" y="259"/>
                    </a:cubicBezTo>
                    <a:lnTo>
                      <a:pt x="454" y="181"/>
                    </a:lnTo>
                    <a:close/>
                    <a:moveTo>
                      <a:pt x="295" y="17"/>
                    </a:moveTo>
                    <a:cubicBezTo>
                      <a:pt x="324" y="17"/>
                      <a:pt x="348" y="41"/>
                      <a:pt x="348" y="71"/>
                    </a:cubicBezTo>
                    <a:cubicBezTo>
                      <a:pt x="348" y="100"/>
                      <a:pt x="324" y="124"/>
                      <a:pt x="295" y="124"/>
                    </a:cubicBezTo>
                    <a:cubicBezTo>
                      <a:pt x="265" y="124"/>
                      <a:pt x="242" y="100"/>
                      <a:pt x="242" y="71"/>
                    </a:cubicBezTo>
                    <a:cubicBezTo>
                      <a:pt x="242" y="41"/>
                      <a:pt x="265" y="17"/>
                      <a:pt x="295" y="17"/>
                    </a:cubicBezTo>
                    <a:close/>
                    <a:moveTo>
                      <a:pt x="225" y="79"/>
                    </a:moveTo>
                    <a:cubicBezTo>
                      <a:pt x="229" y="111"/>
                      <a:pt x="254" y="136"/>
                      <a:pt x="286" y="140"/>
                    </a:cubicBezTo>
                    <a:cubicBezTo>
                      <a:pt x="286" y="212"/>
                      <a:pt x="286" y="212"/>
                      <a:pt x="286" y="212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86" y="150"/>
                      <a:pt x="86" y="150"/>
                      <a:pt x="86" y="150"/>
                    </a:cubicBezTo>
                    <a:cubicBezTo>
                      <a:pt x="86" y="79"/>
                      <a:pt x="86" y="79"/>
                      <a:pt x="86" y="79"/>
                    </a:cubicBezTo>
                    <a:lnTo>
                      <a:pt x="225" y="79"/>
                    </a:lnTo>
                    <a:close/>
                    <a:moveTo>
                      <a:pt x="77" y="165"/>
                    </a:moveTo>
                    <a:cubicBezTo>
                      <a:pt x="132" y="220"/>
                      <a:pt x="132" y="220"/>
                      <a:pt x="132" y="220"/>
                    </a:cubicBezTo>
                    <a:cubicBezTo>
                      <a:pt x="77" y="275"/>
                      <a:pt x="77" y="275"/>
                      <a:pt x="77" y="275"/>
                    </a:cubicBezTo>
                    <a:cubicBezTo>
                      <a:pt x="22" y="220"/>
                      <a:pt x="22" y="220"/>
                      <a:pt x="22" y="220"/>
                    </a:cubicBezTo>
                    <a:lnTo>
                      <a:pt x="77" y="165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4" tIns="45698" rIns="91424" bIns="45698" anchor="t" anchorCtr="0">
                <a:noAutofit/>
              </a:bodyPr>
              <a:lstStyle/>
              <a:p>
                <a:pPr defTabSz="829544">
                  <a:buClr>
                    <a:srgbClr val="000000"/>
                  </a:buClr>
                </a:pPr>
                <a:endParaRPr sz="1801" kern="0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" name="Google Shape;541;p30">
            <a:extLst>
              <a:ext uri="{FF2B5EF4-FFF2-40B4-BE49-F238E27FC236}">
                <a16:creationId xmlns:a16="http://schemas.microsoft.com/office/drawing/2014/main" id="{B89D3427-A305-253E-9248-40D265AC22E6}"/>
              </a:ext>
            </a:extLst>
          </p:cNvPr>
          <p:cNvSpPr txBox="1"/>
          <p:nvPr/>
        </p:nvSpPr>
        <p:spPr>
          <a:xfrm>
            <a:off x="8998252" y="1901065"/>
            <a:ext cx="1710125" cy="284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829544">
              <a:lnSpc>
                <a:spcPct val="85000"/>
              </a:lnSpc>
              <a:buClr>
                <a:srgbClr val="000000"/>
              </a:buClr>
            </a:pPr>
            <a:r>
              <a:rPr lang="en-IN" sz="2177" b="1" kern="0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Outcome</a:t>
            </a:r>
            <a:endParaRPr sz="2177" b="1" kern="0" dirty="0">
              <a:solidFill>
                <a:srgbClr val="000000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" name="Google Shape;546;p30">
            <a:extLst>
              <a:ext uri="{FF2B5EF4-FFF2-40B4-BE49-F238E27FC236}">
                <a16:creationId xmlns:a16="http://schemas.microsoft.com/office/drawing/2014/main" id="{5DBA1FF9-00CA-DE5D-E5F7-CFB585CB7574}"/>
              </a:ext>
            </a:extLst>
          </p:cNvPr>
          <p:cNvSpPr txBox="1"/>
          <p:nvPr/>
        </p:nvSpPr>
        <p:spPr>
          <a:xfrm>
            <a:off x="1218392" y="1901065"/>
            <a:ext cx="2217549" cy="284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829544">
              <a:lnSpc>
                <a:spcPct val="85000"/>
              </a:lnSpc>
              <a:buClr>
                <a:srgbClr val="000000"/>
              </a:buClr>
            </a:pPr>
            <a:r>
              <a:rPr lang="en-IN" sz="2177" b="1" kern="0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Client Challenge</a:t>
            </a:r>
            <a:endParaRPr sz="2177" b="1" kern="0" dirty="0">
              <a:solidFill>
                <a:srgbClr val="000000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3" name="Google Shape;567;p30">
            <a:extLst>
              <a:ext uri="{FF2B5EF4-FFF2-40B4-BE49-F238E27FC236}">
                <a16:creationId xmlns:a16="http://schemas.microsoft.com/office/drawing/2014/main" id="{6ECC9F43-A07F-18F7-C831-FD2F07E31CE4}"/>
              </a:ext>
            </a:extLst>
          </p:cNvPr>
          <p:cNvSpPr txBox="1"/>
          <p:nvPr/>
        </p:nvSpPr>
        <p:spPr>
          <a:xfrm>
            <a:off x="5210232" y="1901065"/>
            <a:ext cx="1760015" cy="284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829544">
              <a:lnSpc>
                <a:spcPct val="85000"/>
              </a:lnSpc>
              <a:buClr>
                <a:srgbClr val="000000"/>
              </a:buClr>
            </a:pPr>
            <a:r>
              <a:rPr lang="en-IN" sz="2177" b="1" kern="0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Our Solution</a:t>
            </a:r>
            <a:endParaRPr sz="2177" b="1" kern="0" dirty="0">
              <a:solidFill>
                <a:srgbClr val="000000"/>
              </a:solidFill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5" name="Google Shape;563;p30">
            <a:extLst>
              <a:ext uri="{FF2B5EF4-FFF2-40B4-BE49-F238E27FC236}">
                <a16:creationId xmlns:a16="http://schemas.microsoft.com/office/drawing/2014/main" id="{F6B62C8F-4118-92E1-1F6E-BE01BC2F2812}"/>
              </a:ext>
            </a:extLst>
          </p:cNvPr>
          <p:cNvSpPr txBox="1">
            <a:spLocks/>
          </p:cNvSpPr>
          <p:nvPr/>
        </p:nvSpPr>
        <p:spPr>
          <a:xfrm>
            <a:off x="8215496" y="2478163"/>
            <a:ext cx="3200523" cy="34925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829544">
              <a:lnSpc>
                <a:spcPts val="1633"/>
              </a:lnSpc>
              <a:buClr>
                <a:srgbClr val="00B9FF"/>
              </a:buClr>
              <a:buSzPct val="100000"/>
            </a:pPr>
            <a:r>
              <a:rPr lang="en-US" sz="1452" kern="0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client benefited from Infomineo Data Analytics service on multiple fronts: </a:t>
            </a:r>
          </a:p>
          <a:p>
            <a:pPr defTabSz="829544">
              <a:lnSpc>
                <a:spcPts val="1633"/>
              </a:lnSpc>
              <a:buClr>
                <a:srgbClr val="00B9FF"/>
              </a:buClr>
              <a:buSzPct val="100000"/>
            </a:pPr>
            <a:endParaRPr lang="en-US" sz="1452" kern="0" dirty="0">
              <a:solidFill>
                <a:srgbClr val="444444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57613" indent="-157613" defTabSz="829544">
              <a:lnSpc>
                <a:spcPts val="1633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52" b="1" kern="0" dirty="0">
                <a:solidFill>
                  <a:srgbClr val="00B9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Comprehensive KPI Insights</a:t>
            </a:r>
          </a:p>
          <a:p>
            <a:pPr defTabSz="829544">
              <a:lnSpc>
                <a:spcPts val="1633"/>
              </a:lnSpc>
              <a:buClr>
                <a:srgbClr val="00B9FF"/>
              </a:buClr>
              <a:buSzPct val="100000"/>
            </a:pPr>
            <a:r>
              <a:rPr lang="en-US" sz="127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Delivered a report with averaged KPIs for each buffer zone (e.g., unemployment, educational background, and wages).</a:t>
            </a:r>
          </a:p>
          <a:p>
            <a:pPr marL="157613" indent="-157613" defTabSz="829544">
              <a:lnSpc>
                <a:spcPts val="1633"/>
              </a:lnSpc>
              <a:buClr>
                <a:srgbClr val="0F47F2"/>
              </a:buClr>
              <a:buSzPct val="100000"/>
              <a:buFont typeface="Wingdings" panose="05000000000000000000" pitchFamily="2" charset="2"/>
              <a:buChar char="§"/>
            </a:pPr>
            <a:endParaRPr lang="en-US" sz="1270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57613" indent="-157613" defTabSz="829544">
              <a:lnSpc>
                <a:spcPts val="1633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52" b="1" kern="0" dirty="0">
                <a:solidFill>
                  <a:srgbClr val="00B9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Seamless Data Exploration</a:t>
            </a:r>
          </a:p>
          <a:p>
            <a:pPr defTabSz="829544">
              <a:lnSpc>
                <a:spcPts val="1633"/>
              </a:lnSpc>
              <a:buClr>
                <a:srgbClr val="00B9FF"/>
              </a:buClr>
              <a:buSzPct val="100000"/>
            </a:pPr>
            <a:r>
              <a:rPr lang="en-US" sz="127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Developed a user-friendly graphical interface that enables customized analyses. </a:t>
            </a:r>
          </a:p>
          <a:p>
            <a:pPr marL="157613" indent="-157613" defTabSz="829544">
              <a:lnSpc>
                <a:spcPts val="1633"/>
              </a:lnSpc>
              <a:buClr>
                <a:srgbClr val="0F47F2"/>
              </a:buClr>
              <a:buSzPct val="100000"/>
              <a:buFont typeface="Wingdings" panose="05000000000000000000" pitchFamily="2" charset="2"/>
              <a:buChar char="§"/>
            </a:pPr>
            <a:endParaRPr lang="en-US" sz="1452" b="1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57613" indent="-157613" defTabSz="829544">
              <a:lnSpc>
                <a:spcPts val="1633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52" b="1" kern="0" dirty="0">
                <a:solidFill>
                  <a:srgbClr val="00B9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Scalable Expansion Potential</a:t>
            </a:r>
            <a:endParaRPr lang="en-US" sz="1452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defTabSz="829544">
              <a:lnSpc>
                <a:spcPts val="1633"/>
              </a:lnSpc>
              <a:buClr>
                <a:srgbClr val="00B9FF"/>
              </a:buClr>
              <a:buSzPct val="100000"/>
            </a:pPr>
            <a:r>
              <a:rPr lang="en-US" sz="127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graphical interface could be expanded to cover additional European countries for future analysis.</a:t>
            </a:r>
          </a:p>
        </p:txBody>
      </p:sp>
      <p:sp>
        <p:nvSpPr>
          <p:cNvPr id="37" name="Google Shape;574;p30">
            <a:extLst>
              <a:ext uri="{FF2B5EF4-FFF2-40B4-BE49-F238E27FC236}">
                <a16:creationId xmlns:a16="http://schemas.microsoft.com/office/drawing/2014/main" id="{3DAFA8F1-CAF0-A738-1CA9-7CE2250663F9}"/>
              </a:ext>
            </a:extLst>
          </p:cNvPr>
          <p:cNvSpPr txBox="1">
            <a:spLocks/>
          </p:cNvSpPr>
          <p:nvPr/>
        </p:nvSpPr>
        <p:spPr>
          <a:xfrm>
            <a:off x="712430" y="3564661"/>
            <a:ext cx="3251546" cy="2345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248863" indent="-248863" defTabSz="829544">
              <a:buClr>
                <a:srgbClr val="0F47F2"/>
              </a:buClr>
              <a:buFont typeface="+mj-lt"/>
              <a:buAutoNum type="arabicPeriod"/>
            </a:pPr>
            <a:r>
              <a:rPr lang="en-US" sz="1270" kern="0" dirty="0">
                <a:solidFill>
                  <a:srgbClr val="374151"/>
                </a:solidFill>
                <a:latin typeface="Calibri" panose="020F0502020204030204"/>
                <a:cs typeface="Arial"/>
                <a:sym typeface="Arial"/>
              </a:rPr>
              <a:t>Identifying the most relevant indicators and reliable data sources that will provide them with comprehensive insights.</a:t>
            </a:r>
          </a:p>
          <a:p>
            <a:pPr marL="248863" indent="-248863" defTabSz="829544">
              <a:buClr>
                <a:srgbClr val="0F47F2"/>
              </a:buClr>
              <a:buFont typeface="+mj-lt"/>
              <a:buAutoNum type="arabicPeriod"/>
            </a:pPr>
            <a:endParaRPr lang="en-US" sz="1270" kern="0" dirty="0">
              <a:solidFill>
                <a:srgbClr val="374151"/>
              </a:solidFill>
              <a:latin typeface="Calibri" panose="020F0502020204030204"/>
              <a:cs typeface="Arial"/>
              <a:sym typeface="Arial"/>
            </a:endParaRPr>
          </a:p>
          <a:p>
            <a:pPr marL="248863" indent="-248863" defTabSz="829544">
              <a:buClr>
                <a:srgbClr val="0F47F2"/>
              </a:buClr>
              <a:buFont typeface="+mj-lt"/>
              <a:buAutoNum type="arabicPeriod"/>
            </a:pPr>
            <a:r>
              <a:rPr lang="en-US" sz="127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Calculating the percentage area of each municipality and the estimated population within designated buffer zones based on specific geographic coordinates. </a:t>
            </a:r>
          </a:p>
          <a:p>
            <a:pPr marL="248863" indent="-248863" defTabSz="829544">
              <a:buClr>
                <a:srgbClr val="0F47F2"/>
              </a:buClr>
              <a:buFont typeface="+mj-lt"/>
              <a:buAutoNum type="arabicPeriod"/>
            </a:pPr>
            <a:endParaRPr lang="en-US" sz="1270" kern="0" dirty="0">
              <a:solidFill>
                <a:srgbClr val="00000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48863" indent="-248863" defTabSz="829544">
              <a:buClr>
                <a:srgbClr val="0F47F2"/>
              </a:buClr>
              <a:buFont typeface="+mj-lt"/>
              <a:buAutoNum type="arabicPeriod"/>
            </a:pPr>
            <a:r>
              <a:rPr lang="en-US" sz="1270" kern="0" dirty="0">
                <a:solidFill>
                  <a:srgbClr val="000000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Visualizing the collected data into a geospatial to identify patterns, hotspot areas with higher needs, and make data-driven decisions regarding the optimal placement of our unemployment centers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83556E-610A-3C17-BC93-8075A7655F0B}"/>
              </a:ext>
            </a:extLst>
          </p:cNvPr>
          <p:cNvSpPr txBox="1"/>
          <p:nvPr/>
        </p:nvSpPr>
        <p:spPr>
          <a:xfrm>
            <a:off x="4334427" y="2420773"/>
            <a:ext cx="3474411" cy="38754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544">
              <a:buClr>
                <a:srgbClr val="00B9FF"/>
              </a:buClr>
            </a:pPr>
            <a:r>
              <a:rPr lang="en-US" sz="1452" kern="0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Infomineo’ s Data Analytics team addressed the client’s need by:</a:t>
            </a:r>
          </a:p>
          <a:p>
            <a:pPr defTabSz="829544">
              <a:spcBef>
                <a:spcPts val="544"/>
              </a:spcBef>
              <a:buClr>
                <a:srgbClr val="00B9FF"/>
              </a:buClr>
            </a:pPr>
            <a:r>
              <a:rPr lang="en-US" sz="1452" b="1" kern="0" dirty="0">
                <a:solidFill>
                  <a:srgbClr val="000000"/>
                </a:solidFill>
                <a:latin typeface="Calibri" panose="020F0502020204030204"/>
                <a:cs typeface="Arial"/>
                <a:sym typeface="Arial"/>
              </a:rPr>
              <a:t>Indicator Identification</a:t>
            </a:r>
            <a:endParaRPr lang="en-US" sz="1452" kern="0" dirty="0">
              <a:solidFill>
                <a:srgbClr val="000000"/>
              </a:solidFill>
              <a:latin typeface="Calibri" panose="020F0502020204030204"/>
              <a:cs typeface="Arial"/>
              <a:sym typeface="Arial"/>
            </a:endParaRPr>
          </a:p>
          <a:p>
            <a:pPr defTabSz="829544">
              <a:buClr>
                <a:srgbClr val="00B9FF"/>
              </a:buClr>
            </a:pPr>
            <a:r>
              <a:rPr lang="en-US" sz="1270" kern="0" dirty="0">
                <a:solidFill>
                  <a:srgbClr val="374151"/>
                </a:solidFill>
                <a:latin typeface="Calibri" panose="020F0502020204030204"/>
                <a:cs typeface="Arial"/>
                <a:sym typeface="Arial"/>
              </a:rPr>
              <a:t>Selecting relevant criteria such as population statistics, socio-economic factors, and geographic boundaries.</a:t>
            </a:r>
          </a:p>
          <a:p>
            <a:pPr defTabSz="829544">
              <a:spcBef>
                <a:spcPts val="544"/>
              </a:spcBef>
              <a:buClr>
                <a:srgbClr val="00B9FF"/>
              </a:buClr>
            </a:pPr>
            <a:r>
              <a:rPr lang="en-US" sz="1452" b="1" kern="0" dirty="0">
                <a:solidFill>
                  <a:srgbClr val="000000"/>
                </a:solidFill>
                <a:latin typeface="Calibri" panose="020F0502020204030204"/>
                <a:cs typeface="Arial"/>
                <a:sym typeface="Arial"/>
              </a:rPr>
              <a:t>Modelling</a:t>
            </a:r>
          </a:p>
          <a:p>
            <a:pPr marL="311079" lvl="2" indent="-311079" defTabSz="829544">
              <a:spcBef>
                <a:spcPts val="544"/>
              </a:spcBef>
              <a:buClr>
                <a:srgbClr val="0F47F2"/>
              </a:buClr>
              <a:buFont typeface="+mj-lt"/>
              <a:buAutoNum type="arabicPeriod"/>
            </a:pPr>
            <a:r>
              <a:rPr lang="en-US" sz="1270" kern="0" dirty="0">
                <a:solidFill>
                  <a:srgbClr val="374151"/>
                </a:solidFill>
                <a:latin typeface="Calibri" panose="020F0502020204030204"/>
                <a:cs typeface="Arial"/>
                <a:sym typeface="Arial"/>
              </a:rPr>
              <a:t>Calculation of the percentage area of each municipality within designated buffer zones based geographic coordinates. </a:t>
            </a:r>
          </a:p>
          <a:p>
            <a:pPr marL="311079" lvl="2" indent="-311079" defTabSz="829544">
              <a:spcBef>
                <a:spcPts val="544"/>
              </a:spcBef>
              <a:buClr>
                <a:srgbClr val="0F47F2"/>
              </a:buClr>
              <a:buFont typeface="+mj-lt"/>
              <a:buAutoNum type="arabicPeriod"/>
            </a:pPr>
            <a:r>
              <a:rPr lang="en-US" sz="1270" kern="0" dirty="0">
                <a:solidFill>
                  <a:srgbClr val="374151"/>
                </a:solidFill>
                <a:latin typeface="Calibri" panose="020F0502020204030204"/>
                <a:cs typeface="Arial"/>
                <a:sym typeface="Arial"/>
              </a:rPr>
              <a:t>Development of an algorithm that accounted for a homogeneous distribution of the population.</a:t>
            </a:r>
          </a:p>
          <a:p>
            <a:pPr defTabSz="829544">
              <a:spcBef>
                <a:spcPts val="544"/>
              </a:spcBef>
              <a:buClr>
                <a:srgbClr val="00B9FF"/>
              </a:buClr>
            </a:pPr>
            <a:r>
              <a:rPr lang="en-US" sz="1452" b="1" kern="0" dirty="0">
                <a:solidFill>
                  <a:srgbClr val="000000"/>
                </a:solidFill>
                <a:latin typeface="Calibri" panose="020F0502020204030204"/>
                <a:cs typeface="Arial"/>
                <a:sym typeface="Arial"/>
              </a:rPr>
              <a:t>Geocoding &amp; Visualization</a:t>
            </a:r>
          </a:p>
          <a:p>
            <a:pPr defTabSz="829544">
              <a:buClr>
                <a:srgbClr val="00B9FF"/>
              </a:buClr>
            </a:pPr>
            <a:r>
              <a:rPr lang="en-US" sz="1270" kern="0" dirty="0">
                <a:solidFill>
                  <a:srgbClr val="374151"/>
                </a:solidFill>
                <a:latin typeface="Calibri" panose="020F0502020204030204"/>
                <a:cs typeface="Arial"/>
                <a:sym typeface="Arial"/>
              </a:rPr>
              <a:t>Use of geocoding techniques to transform location data into precise geographical coordinates.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039BA2E-7086-C3FB-6014-E1E058F2ED37}"/>
              </a:ext>
            </a:extLst>
          </p:cNvPr>
          <p:cNvSpPr txBox="1"/>
          <p:nvPr/>
        </p:nvSpPr>
        <p:spPr>
          <a:xfrm>
            <a:off x="621450" y="2452794"/>
            <a:ext cx="3542977" cy="10695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544">
              <a:buClr>
                <a:srgbClr val="000000"/>
              </a:buClr>
            </a:pPr>
            <a:r>
              <a:rPr lang="en-US" sz="1270" kern="0" dirty="0">
                <a:solidFill>
                  <a:srgbClr val="000000"/>
                </a:solidFill>
                <a:latin typeface="Calibri" panose="020F0502020204030204"/>
                <a:cs typeface="Arial"/>
                <a:sym typeface="Arial"/>
              </a:rPr>
              <a:t>The client needed to identify optimal locations for unemployment centers and accurately assessing the population in need and its characteristics.</a:t>
            </a:r>
          </a:p>
          <a:p>
            <a:pPr defTabSz="829544">
              <a:buClr>
                <a:srgbClr val="000000"/>
              </a:buClr>
            </a:pPr>
            <a:endParaRPr lang="en-US" sz="1270" kern="0" dirty="0">
              <a:solidFill>
                <a:srgbClr val="000000"/>
              </a:solidFill>
              <a:latin typeface="Calibri" panose="020F0502020204030204"/>
              <a:cs typeface="Arial"/>
              <a:sym typeface="Arial"/>
            </a:endParaRPr>
          </a:p>
          <a:p>
            <a:pPr defTabSz="829544">
              <a:buClr>
                <a:srgbClr val="000000"/>
              </a:buClr>
            </a:pPr>
            <a:r>
              <a:rPr lang="en-US" sz="1270" kern="0" dirty="0">
                <a:solidFill>
                  <a:srgbClr val="000000"/>
                </a:solidFill>
                <a:latin typeface="Calibri" panose="020F0502020204030204"/>
                <a:cs typeface="Arial"/>
                <a:sym typeface="Arial"/>
              </a:rPr>
              <a:t>The firm was looking for : </a:t>
            </a:r>
          </a:p>
        </p:txBody>
      </p:sp>
    </p:spTree>
    <p:extLst>
      <p:ext uri="{BB962C8B-B14F-4D97-AF65-F5344CB8AC3E}">
        <p14:creationId xmlns:p14="http://schemas.microsoft.com/office/powerpoint/2010/main" val="15571264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4897BCE-14ED-1B6A-033C-C9FB903167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8626934"/>
              </p:ext>
            </p:extLst>
          </p:nvPr>
        </p:nvGraphicFramePr>
        <p:xfrm>
          <a:off x="1441" y="153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4897BCE-14ED-1B6A-033C-C9FB90316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41" y="153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842A9F8-55E4-BB28-EC78-56CEB8BFD4DB}"/>
              </a:ext>
            </a:extLst>
          </p:cNvPr>
          <p:cNvPicPr preferRelativeResize="0"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6705600" y="2166569"/>
            <a:ext cx="4508274" cy="373277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27EAAA40-79B3-2C9D-FA74-0AE0E793AD04}"/>
              </a:ext>
            </a:extLst>
          </p:cNvPr>
          <p:cNvGrpSpPr>
            <a:grpSpLocks/>
          </p:cNvGrpSpPr>
          <p:nvPr/>
        </p:nvGrpSpPr>
        <p:grpSpPr>
          <a:xfrm>
            <a:off x="10787985" y="1829320"/>
            <a:ext cx="703197" cy="703197"/>
            <a:chOff x="803725" y="5176815"/>
            <a:chExt cx="503992" cy="503992"/>
          </a:xfrm>
        </p:grpSpPr>
        <p:sp>
          <p:nvSpPr>
            <p:cNvPr id="17" name="Google Shape;557;p30">
              <a:extLst>
                <a:ext uri="{FF2B5EF4-FFF2-40B4-BE49-F238E27FC236}">
                  <a16:creationId xmlns:a16="http://schemas.microsoft.com/office/drawing/2014/main" id="{7F98F1BF-71FC-BAD4-C84C-63DC9F86450F}"/>
                </a:ext>
              </a:extLst>
            </p:cNvPr>
            <p:cNvSpPr/>
            <p:nvPr/>
          </p:nvSpPr>
          <p:spPr>
            <a:xfrm>
              <a:off x="803725" y="5176815"/>
              <a:ext cx="503992" cy="503992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4" tIns="45698" rIns="91424" bIns="45698" anchor="ctr" anchorCtr="0">
              <a:noAutofit/>
            </a:bodyPr>
            <a:lstStyle/>
            <a:p>
              <a:pPr algn="ctr" defTabSz="829544">
                <a:buClr>
                  <a:srgbClr val="000000"/>
                </a:buClr>
              </a:pPr>
              <a:endParaRPr sz="1452" kern="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9C643D3A-401F-4836-719A-B2DB77A0F8F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04187" y="5259959"/>
              <a:ext cx="303068" cy="337705"/>
            </a:xfrm>
            <a:prstGeom prst="rect">
              <a:avLst/>
            </a:prstGeom>
          </p:spPr>
        </p:pic>
      </p:grpSp>
      <p:sp>
        <p:nvSpPr>
          <p:cNvPr id="8" name="Google Shape;831;p25">
            <a:extLst>
              <a:ext uri="{FF2B5EF4-FFF2-40B4-BE49-F238E27FC236}">
                <a16:creationId xmlns:a16="http://schemas.microsoft.com/office/drawing/2014/main" id="{EBCA1D99-A0B8-1FB3-6D1B-DDEED9A6ADC7}"/>
              </a:ext>
            </a:extLst>
          </p:cNvPr>
          <p:cNvSpPr>
            <a:spLocks/>
          </p:cNvSpPr>
          <p:nvPr/>
        </p:nvSpPr>
        <p:spPr>
          <a:xfrm>
            <a:off x="444580" y="1945327"/>
            <a:ext cx="5391279" cy="4748745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30631" tIns="163288" rIns="130631" bIns="163288" anchor="t" anchorCtr="0">
            <a:noAutofit/>
          </a:bodyPr>
          <a:lstStyle/>
          <a:p>
            <a:pPr algn="ctr" defTabSz="829544">
              <a:lnSpc>
                <a:spcPct val="130769"/>
              </a:lnSpc>
              <a:buClr>
                <a:srgbClr val="00B9FF"/>
              </a:buClr>
              <a:buSzPts val="1300"/>
            </a:pPr>
            <a:endParaRPr lang="en-US" sz="127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35220E9-E185-4F64-7AFF-A5004A0078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814" y="560664"/>
            <a:ext cx="11089972" cy="886350"/>
          </a:xfrm>
        </p:spPr>
        <p:txBody>
          <a:bodyPr vert="horz"/>
          <a:lstStyle/>
          <a:p>
            <a:r>
              <a:rPr lang="en-US" dirty="0"/>
              <a:t>Geospatial Analysis of Labor Catchment: </a:t>
            </a:r>
            <a:br>
              <a:rPr lang="en-US" dirty="0"/>
            </a:br>
            <a:r>
              <a:rPr lang="en-US" dirty="0"/>
              <a:t>Assessing Employment and Demographic Patter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99FB528-C289-D77E-367D-2A0552058CFE}"/>
              </a:ext>
            </a:extLst>
          </p:cNvPr>
          <p:cNvSpPr txBox="1"/>
          <p:nvPr/>
        </p:nvSpPr>
        <p:spPr>
          <a:xfrm>
            <a:off x="588363" y="2597358"/>
            <a:ext cx="5047553" cy="3770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829544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b="1" kern="0" dirty="0">
                <a:solidFill>
                  <a:srgbClr val="000000"/>
                </a:solidFill>
                <a:latin typeface="Calibri" panose="020F0502020204030204"/>
                <a:cs typeface="Arial"/>
                <a:sym typeface="Arial"/>
              </a:rPr>
              <a:t>Extensive municipal data acquisition: 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/>
                <a:cs typeface="Arial"/>
                <a:sym typeface="Arial"/>
              </a:rPr>
              <a:t>Gather comprehensive data on municipality boundaries and population statistics.</a:t>
            </a:r>
          </a:p>
          <a:p>
            <a:pPr marL="285750" indent="-285750" defTabSz="829544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b="1" kern="0" dirty="0">
                <a:solidFill>
                  <a:srgbClr val="000000"/>
                </a:solidFill>
                <a:latin typeface="Calibri" panose="020F0502020204030204"/>
                <a:cs typeface="Arial"/>
                <a:sym typeface="Arial"/>
              </a:rPr>
              <a:t>Relevant Data Compilation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/>
                <a:cs typeface="Arial"/>
                <a:sym typeface="Arial"/>
              </a:rPr>
              <a:t>: Compile additional data on unemployment rates, poverty levels, education background, and regional wages.</a:t>
            </a:r>
          </a:p>
          <a:p>
            <a:pPr marL="285750" indent="-285750" defTabSz="829544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b="1" kern="0" dirty="0">
                <a:solidFill>
                  <a:srgbClr val="000000"/>
                </a:solidFill>
                <a:latin typeface="Calibri" panose="020F0502020204030204"/>
                <a:cs typeface="Arial"/>
                <a:sym typeface="Arial"/>
              </a:rPr>
              <a:t>User-Friendly Interface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/>
                <a:cs typeface="Arial"/>
                <a:sym typeface="Arial"/>
              </a:rPr>
              <a:t>: Develop a user-friendly interface for easy excel report requests and uploads. Users can efficiently extract relevant data by inputting specific locations or batches of coordinates for buffer zones.</a:t>
            </a:r>
          </a:p>
          <a:p>
            <a:pPr marL="285750" indent="-285750" defTabSz="829544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b="1" kern="0" dirty="0">
                <a:solidFill>
                  <a:srgbClr val="000000"/>
                </a:solidFill>
                <a:latin typeface="Calibri" panose="020F0502020204030204"/>
                <a:cs typeface="Arial"/>
                <a:sym typeface="Arial"/>
              </a:rPr>
              <a:t>Interactive Mapping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/>
                <a:cs typeface="Arial"/>
                <a:sym typeface="Arial"/>
              </a:rPr>
              <a:t>:  Create an interactive map that provides a visually immersive exploration of the collected data. </a:t>
            </a:r>
          </a:p>
        </p:txBody>
      </p:sp>
      <p:sp>
        <p:nvSpPr>
          <p:cNvPr id="6" name="Google Shape;545;p30">
            <a:extLst>
              <a:ext uri="{FF2B5EF4-FFF2-40B4-BE49-F238E27FC236}">
                <a16:creationId xmlns:a16="http://schemas.microsoft.com/office/drawing/2014/main" id="{AB29E1ED-7EE6-123D-AFA8-72F10C0C173A}"/>
              </a:ext>
            </a:extLst>
          </p:cNvPr>
          <p:cNvSpPr>
            <a:spLocks/>
          </p:cNvSpPr>
          <p:nvPr/>
        </p:nvSpPr>
        <p:spPr>
          <a:xfrm>
            <a:off x="416501" y="1815645"/>
            <a:ext cx="5391279" cy="716872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4" tIns="45698" rIns="91424" bIns="45698" anchor="ctr" anchorCtr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177" b="1" dirty="0">
                <a:solidFill>
                  <a:srgbClr val="FFFFFF"/>
                </a:solidFill>
              </a:rPr>
              <a:t>Infomineo Approach</a:t>
            </a:r>
          </a:p>
        </p:txBody>
      </p:sp>
    </p:spTree>
    <p:extLst>
      <p:ext uri="{BB962C8B-B14F-4D97-AF65-F5344CB8AC3E}">
        <p14:creationId xmlns:p14="http://schemas.microsoft.com/office/powerpoint/2010/main" val="31123095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_2lQ1IrOBXnwywwFfq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263.y13U8EVew42DLdd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lF5.eRNR9rPuGQEZuEt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MRpyJXMeKwLC3sJ68o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MRpyJXMeKwLC3sJ68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GbONRlHa1tN1XBgZ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io.O3YUYWzoTtrSsmIH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GbONRlHa1tN1XBgZ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qwcc7DejGViCWBFpFD0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t3g6oHR.eSMeI2wrOH9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OvDAAg8kg2cvbrebxAj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ISAEtFUhbxIAwICusEz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7v3cWm.ALjPRKJ9nXr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qwcc7DejGViCWBFpFD0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9IE.7bLxBrULpoO3xSE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4LRVt1qo76aFx.vfDhm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t0G4uAyuYyTKhWLOjI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6Cj340VALGJWLymSWF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H.igiAg4ypsuWHYavc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Nl1HuxWDhxLyTiC38B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Nl1HuxWDhxLyTiC38B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VjA4ltcgICe3e6_2sKT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3fl1AeGXOX4VVDsMkfG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_2lQ1IrOBXnwywwFf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_2lQ1IrOBXnwywwFfq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263.y13U8EVew42DLdd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lF5.eRNR9rPuGQEZuEt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MRpyJXMeKwLC3sJ68o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MRpyJXMeKwLC3sJ68o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io.O3YUYWzoTtrSsmIH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GbONRlHa1tN1XBgZ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qwcc7DejGViCWBFpFD0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t3g6oHR.eSMeI2wrOH9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OvDAAg8kg2cvbrebxAj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ISAEtFUhbxIAwICusEz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7v3cWm.ALjPRKJ9nXrH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9IE.7bLxBrULpoO3xSE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4LRVt1qo76aFx.vfDhm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t0G4uAyuYyTKhWLOjI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6Cj340VALGJWLymSWF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t3g6oHR.eSMeI2wrOH9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H.igiAg4ypsuWHYavcn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Nl1HuxWDhxLyTiC38B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Nl1HuxWDhxLyTiC38B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VjA4ltcgICe3e6_2sKT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3fl1AeGXOX4VVDsMkfG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_2lQ1IrOBXnwywwFfq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_2lQ1IrOBXnwywwFfq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263.y13U8EVew42DLdd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lF5.eRNR9rPuGQEZuEt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MRpyJXMeKwLC3sJ68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MRpyJXMeKwLC3sJ68o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io.O3YUYWzoTtrSsmIH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GbONRlHa1tN1XBgZ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qwcc7DejGViCWBFpFD0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t3g6oHR.eSMeI2wrOH9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OvDAAg8kg2cvbrebxAj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ISAEtFUhbxIAwICusE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OvDAAg8kg2cvbrebxAj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7v3cWm.ALjPRKJ9nXrH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9IE.7bLxBrULpoO3xSE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4LRVt1qo76aFx.vfDhm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t0G4uAyuYyTKhWLOjI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6Cj340VALGJWLymSW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H.igiAg4ypsuWHYavcn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Nl1HuxWDhxLyTiC38B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Nl1HuxWDhxLyTiC38B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VjA4ltcgICe3e6_2sKT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3fl1AeGXOX4VVDsMkf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ISAEtFUhbxIAwICusEz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_2lQ1IrOBXnwywwFfq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_2lQ1IrOBXnwywwFfq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263.y13U8EVew42DLdd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lF5.eRNR9rPuGQEZuEt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MRpyJXMeKwLC3sJ68o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MRpyJXMeKwLC3sJ68o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io.O3YUYWzoTtrSsmIH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GbONRlHa1tN1XBgZ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qwcc7DejGViCWBFpFD0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7v3cWm.ALjPRKJ9nXrH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t3g6oHR.eSMeI2wrOH9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OvDAAg8kg2cvbrebxAj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ISAEtFUhbxIAwICusEz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7v3cWm.ALjPRKJ9nXrH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9IE.7bLxBrULpoO3xSE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4LRVt1qo76aFx.vfDhm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t0G4uAyuYyTKhWLOjI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9IE.7bLxBrULpoO3xSE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6Cj340VALGJWLymSWF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H.igiAg4ypsuWHYavcn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Nl1HuxWDhxLyTiC38B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Nl1HuxWDhxLyTiC38B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VjA4ltcgICe3e6_2sKT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lF5.eRNR9rPuGQEZuE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3fl1AeGXOX4VVDsMkfG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_2lQ1IrOBXnwywwFfq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_2lQ1IrOBXnwywwFfq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263.y13U8EVew42DLdd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4LRVt1qo76aFx.vfDhm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t0G4uAyuYyTKhWLOjI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6Cj340VALGJWLymSW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H.igiAg4ypsuWHYavcn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Nl1HuxWDhxLyTiC38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Nl1HuxWDhxLyTiC38B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VjA4ltcgICe3e6_2sK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3fl1AeGXOX4VVDsMkf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_2lQ1IrOBXnwywwFfq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_2lQ1IrOBXnwywwFf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MRpyJXMeKwLC3sJ68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263.y13U8EVew42DLdd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lF5.eRNR9rPuGQEZuE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MRpyJXMeKwLC3sJ68o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MRpyJXMeKwLC3sJ68o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io.O3YUYWzoTtrSsmIH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GbONRlHa1tN1XBgZ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qwcc7DejGViCWBFpFD0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MRpyJXMeKwLC3sJ68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t3g6oHR.eSMeI2wrOH9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OvDAAg8kg2cvbrebxAj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ISAEtFUhbxIAwICusEz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7v3cWm.ALjPRKJ9nXrH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9IE.7bLxBrULpoO3xS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4LRVt1qo76aFx.vfDhm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t0G4uAyuYyTKhWLOjI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6Cj340VALGJWLymSWF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H.igiAg4ypsuWHYavcn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io.O3YUYWzoTtrSsmIH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Nl1HuxWDhxLyTiC38B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Nl1HuxWDhxLyTiC38B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VjA4ltcgICe3e6_2sKT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3fl1AeGXOX4VVDsMkfG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_2lQ1IrOBXnwywwFfq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0" tIns="0" rIns="0" bIns="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fomineo_Template_Widescreen.potm" id="{A045A23C-F332-4D97-85AE-0C2DA41476AA}" vid="{1F177315-FD57-47DC-832A-616B4C14F39F}"/>
    </a:ext>
  </a:extLst>
</a:theme>
</file>

<file path=ppt/theme/theme2.xml><?xml version="1.0" encoding="utf-8"?>
<a:theme xmlns:a="http://schemas.openxmlformats.org/drawingml/2006/main" name="2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0" tIns="0" rIns="0" bIns="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fomineo_Template_Widescreen.potm" id="{A045A23C-F332-4D97-85AE-0C2DA41476AA}" vid="{1F177315-FD57-47DC-832A-616B4C14F39F}"/>
    </a:ext>
  </a:extLst>
</a:theme>
</file>

<file path=ppt/theme/theme3.xml><?xml version="1.0" encoding="utf-8"?>
<a:theme xmlns:a="http://schemas.openxmlformats.org/drawingml/2006/main" name="3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0" tIns="0" rIns="0" bIns="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fomineo_Template_Widescreen.potm" id="{A045A23C-F332-4D97-85AE-0C2DA41476AA}" vid="{1F177315-FD57-47DC-832A-616B4C14F39F}"/>
    </a:ext>
  </a:extLst>
</a:theme>
</file>

<file path=ppt/theme/theme4.xml><?xml version="1.0" encoding="utf-8"?>
<a:theme xmlns:a="http://schemas.openxmlformats.org/drawingml/2006/main" name="4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0" tIns="0" rIns="0" bIns="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fomineo_Template_Widescreen.potm" id="{A045A23C-F332-4D97-85AE-0C2DA41476AA}" vid="{1F177315-FD57-47DC-832A-616B4C14F39F}"/>
    </a:ext>
  </a:extLst>
</a:theme>
</file>

<file path=ppt/theme/theme5.xml><?xml version="1.0" encoding="utf-8"?>
<a:theme xmlns:a="http://schemas.openxmlformats.org/drawingml/2006/main" name="5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0" tIns="0" rIns="0" bIns="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fomineo_Template_Widescreen.potm" id="{A045A23C-F332-4D97-85AE-0C2DA41476AA}" vid="{1F177315-FD57-47DC-832A-616B4C14F39F}"/>
    </a:ext>
  </a:extLst>
</a:theme>
</file>

<file path=ppt/theme/theme6.xml><?xml version="1.0" encoding="utf-8"?>
<a:theme xmlns:a="http://schemas.openxmlformats.org/drawingml/2006/main" name="6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0" tIns="0" rIns="0" bIns="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fomineo_Template_Widescreen.potm" id="{A045A23C-F332-4D97-85AE-0C2DA41476AA}" vid="{1F177315-FD57-47DC-832A-616B4C14F39F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</TotalTime>
  <Words>987</Words>
  <Application>Microsoft Office PowerPoint</Application>
  <PresentationFormat>Widescreen</PresentationFormat>
  <Paragraphs>109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0" baseType="lpstr">
      <vt:lpstr>Arial</vt:lpstr>
      <vt:lpstr>Calibri</vt:lpstr>
      <vt:lpstr>Calibri Light</vt:lpstr>
      <vt:lpstr>Franklin Gothic</vt:lpstr>
      <vt:lpstr>Franklin Gothic Book</vt:lpstr>
      <vt:lpstr>Franklin Gothic Demi</vt:lpstr>
      <vt:lpstr>Wingdings</vt:lpstr>
      <vt:lpstr>1_Office Theme</vt:lpstr>
      <vt:lpstr>2_Office Theme</vt:lpstr>
      <vt:lpstr>3_Office Theme</vt:lpstr>
      <vt:lpstr>4_Office Theme</vt:lpstr>
      <vt:lpstr>5_Office Theme</vt:lpstr>
      <vt:lpstr>6_Office Theme</vt:lpstr>
      <vt:lpstr>think-cell Slide</vt:lpstr>
      <vt:lpstr>A Comprehensive Dashboard of Key HR Metrics  and Performance Indicators</vt:lpstr>
      <vt:lpstr>A Comprehensive Dashboard of HR Key Metrics  and Performance Indicators</vt:lpstr>
      <vt:lpstr>Web Scraping Tool for Second-Hand Car Sales</vt:lpstr>
      <vt:lpstr>Web Scraping Tool for Second-Hand Car Sales</vt:lpstr>
      <vt:lpstr>Geospatial Analysis of Labor Catchment:  Assessing Employment and Demographic Patterns</vt:lpstr>
      <vt:lpstr>Geospatial Analysis of Labor Catchment:  Assessing Employment and Demographic Patter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Comprehensive Dashboard of Key HR Metrics  and Performance Indicators</dc:title>
  <dc:creator>Casa 3</dc:creator>
  <cp:lastModifiedBy>Casa 3</cp:lastModifiedBy>
  <cp:revision>2</cp:revision>
  <dcterms:created xsi:type="dcterms:W3CDTF">2023-06-26T09:29:49Z</dcterms:created>
  <dcterms:modified xsi:type="dcterms:W3CDTF">2023-06-26T09:45:15Z</dcterms:modified>
</cp:coreProperties>
</file>